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62" r:id="rId6"/>
    <p:sldMasterId id="2147483668" r:id="rId7"/>
  </p:sldMasterIdLst>
  <p:notesMasterIdLst>
    <p:notesMasterId r:id="rId46"/>
  </p:notesMasterIdLst>
  <p:handoutMasterIdLst>
    <p:handoutMasterId r:id="rId47"/>
  </p:handoutMasterIdLst>
  <p:sldIdLst>
    <p:sldId id="2147379386" r:id="rId8"/>
    <p:sldId id="2147379387" r:id="rId9"/>
    <p:sldId id="2147379388" r:id="rId10"/>
    <p:sldId id="2147379389" r:id="rId11"/>
    <p:sldId id="2147379390" r:id="rId12"/>
    <p:sldId id="2147379391" r:id="rId13"/>
    <p:sldId id="2147379392" r:id="rId14"/>
    <p:sldId id="2147379393" r:id="rId15"/>
    <p:sldId id="2147379394" r:id="rId16"/>
    <p:sldId id="2147379395" r:id="rId17"/>
    <p:sldId id="2147379396" r:id="rId18"/>
    <p:sldId id="2147379397" r:id="rId19"/>
    <p:sldId id="2147379398" r:id="rId20"/>
    <p:sldId id="2147379399" r:id="rId21"/>
    <p:sldId id="2147379400" r:id="rId22"/>
    <p:sldId id="495" r:id="rId23"/>
    <p:sldId id="559" r:id="rId24"/>
    <p:sldId id="560" r:id="rId25"/>
    <p:sldId id="579" r:id="rId26"/>
    <p:sldId id="580" r:id="rId27"/>
    <p:sldId id="644" r:id="rId28"/>
    <p:sldId id="568" r:id="rId29"/>
    <p:sldId id="569" r:id="rId30"/>
    <p:sldId id="570" r:id="rId31"/>
    <p:sldId id="504" r:id="rId32"/>
    <p:sldId id="571" r:id="rId33"/>
    <p:sldId id="584" r:id="rId34"/>
    <p:sldId id="572" r:id="rId35"/>
    <p:sldId id="573" r:id="rId36"/>
    <p:sldId id="577" r:id="rId37"/>
    <p:sldId id="581" r:id="rId38"/>
    <p:sldId id="645" r:id="rId39"/>
    <p:sldId id="576" r:id="rId40"/>
    <p:sldId id="507" r:id="rId41"/>
    <p:sldId id="506" r:id="rId42"/>
    <p:sldId id="503" r:id="rId43"/>
    <p:sldId id="508" r:id="rId44"/>
    <p:sldId id="509" r:id="rId45"/>
  </p:sldIdLst>
  <p:sldSz cx="9144000" cy="6858000" type="screen4x3"/>
  <p:notesSz cx="6797675" cy="9926638"/>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 id="{06B1FB5A-B15D-A860-8BE8-61B54813D39C}" name="丁野 光理" initials="丁野" userId="S::chohno-h2ge@mlit.go.jp::53361c9a-10d0-4268-b39c-a1f4044b33f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99"/>
    <a:srgbClr val="FF0000"/>
    <a:srgbClr val="FF6600"/>
    <a:srgbClr val="0000CC"/>
    <a:srgbClr val="FFCDC1"/>
    <a:srgbClr val="F73131"/>
    <a:srgbClr val="006600"/>
    <a:srgbClr val="FFFF00"/>
    <a:srgbClr val="FF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4E61DF-3590-4026-9366-5244FE772354}" v="33" dt="2025-02-06T06:55:10.317"/>
    <p1510:client id="{A55082D0-25B5-4BE4-A490-4320304A6725}" v="78" dt="2025-02-07T00:50:59.481"/>
    <p1510:client id="{D104EE30-56BB-4DF1-9E69-6AA583B6AB6C}" v="4" dt="2025-02-07T03:52:01.961"/>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rgbClr val="00000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8" d="100"/>
          <a:sy n="118" d="100"/>
        </p:scale>
        <p:origin x="1404" y="10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handoutMaster" Target="handoutMasters/handoutMaster1.xml"/><Relationship Id="rId50" Type="http://schemas.openxmlformats.org/officeDocument/2006/relationships/viewProps" Target="viewProps.xml"/><Relationship Id="rId55"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microsoft.com/office/2016/11/relationships/changesInfo" Target="changesInfos/changesInfo1.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commentAuthors" Target="commentAuthors.xml"/><Relationship Id="rId8" Type="http://schemas.openxmlformats.org/officeDocument/2006/relationships/slide" Target="slides/slide1.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丁野 光理" userId="53361c9a-10d0-4268-b39c-a1f4044b33f4" providerId="ADAL" clId="{2DB70224-AC9E-44F8-9C3C-7C236BCB63DA}"/>
    <pc:docChg chg="modSld">
      <pc:chgData name="丁野 光理" userId="53361c9a-10d0-4268-b39c-a1f4044b33f4" providerId="ADAL" clId="{2DB70224-AC9E-44F8-9C3C-7C236BCB63DA}" dt="2025-01-17T04:50:42.848" v="1"/>
      <pc:docMkLst>
        <pc:docMk/>
      </pc:docMkLst>
      <pc:sldChg chg="modSp addCm">
        <pc:chgData name="丁野 光理" userId="53361c9a-10d0-4268-b39c-a1f4044b33f4" providerId="ADAL" clId="{2DB70224-AC9E-44F8-9C3C-7C236BCB63DA}" dt="2025-01-17T04:50:42.848" v="1"/>
        <pc:sldMkLst>
          <pc:docMk/>
          <pc:sldMk cId="3718637712" sldId="2147379366"/>
        </pc:sldMkLst>
        <pc:graphicFrameChg chg="mod">
          <ac:chgData name="丁野 光理" userId="53361c9a-10d0-4268-b39c-a1f4044b33f4" providerId="ADAL" clId="{2DB70224-AC9E-44F8-9C3C-7C236BCB63DA}" dt="2025-01-17T04:50:22.361" v="0"/>
          <ac:graphicFrameMkLst>
            <pc:docMk/>
            <pc:sldMk cId="3718637712" sldId="2147379366"/>
            <ac:graphicFrameMk id="1233" creationId="{00000000-0000-0000-0000-000000000000}"/>
          </ac:graphicFrameMkLst>
        </pc:graphicFrameChg>
        <pc:extLst>
          <p:ext xmlns:p="http://schemas.openxmlformats.org/presentationml/2006/main" uri="{D6D511B9-2390-475A-947B-AFAB55BFBCF1}">
            <pc226:cmChg xmlns:pc226="http://schemas.microsoft.com/office/powerpoint/2022/06/main/command" chg="add">
              <pc226:chgData name="丁野 光理" userId="53361c9a-10d0-4268-b39c-a1f4044b33f4" providerId="ADAL" clId="{2DB70224-AC9E-44F8-9C3C-7C236BCB63DA}" dt="2025-01-17T04:50:42.848" v="1"/>
              <pc2:cmMkLst xmlns:pc2="http://schemas.microsoft.com/office/powerpoint/2019/9/main/command">
                <pc:docMk/>
                <pc:sldMk cId="3718637712" sldId="2147379366"/>
                <pc2:cmMk id="{6FFC0225-BDA6-4CF4-A99F-B5F97C277F7C}"/>
              </pc2:cmMkLst>
            </pc226:cmChg>
          </p:ext>
        </pc:extLst>
      </pc:sldChg>
    </pc:docChg>
  </pc:docChgLst>
  <pc:docChgLst>
    <pc:chgData name="坂口 正樹" userId="d3a4a5c6-2c5c-4480-86fc-19af58e9c59e" providerId="ADAL" clId="{1C4E61DF-3590-4026-9366-5244FE772354}"/>
    <pc:docChg chg="custSel addSld delSld modSld modSection">
      <pc:chgData name="坂口 正樹" userId="d3a4a5c6-2c5c-4480-86fc-19af58e9c59e" providerId="ADAL" clId="{1C4E61DF-3590-4026-9366-5244FE772354}" dt="2025-02-06T06:55:10.317" v="29" actId="14100"/>
      <pc:docMkLst>
        <pc:docMk/>
      </pc:docMkLst>
      <pc:sldChg chg="addSp delSp modSp del mod">
        <pc:chgData name="坂口 正樹" userId="d3a4a5c6-2c5c-4480-86fc-19af58e9c59e" providerId="ADAL" clId="{1C4E61DF-3590-4026-9366-5244FE772354}" dt="2025-02-06T06:54:48.043" v="21"/>
        <pc:sldMkLst>
          <pc:docMk/>
          <pc:sldMk cId="123917643" sldId="2146847758"/>
        </pc:sldMkLst>
        <pc:spChg chg="add mod">
          <ac:chgData name="坂口 正樹" userId="d3a4a5c6-2c5c-4480-86fc-19af58e9c59e" providerId="ADAL" clId="{1C4E61DF-3590-4026-9366-5244FE772354}" dt="2025-02-06T06:54:48.043" v="21"/>
          <ac:spMkLst>
            <pc:docMk/>
            <pc:sldMk cId="123917643" sldId="2146847758"/>
            <ac:spMk id="4" creationId="{CAA06975-89C8-378D-5A6C-67DCE99BAD39}"/>
          </ac:spMkLst>
        </pc:spChg>
        <pc:spChg chg="del">
          <ac:chgData name="坂口 正樹" userId="d3a4a5c6-2c5c-4480-86fc-19af58e9c59e" providerId="ADAL" clId="{1C4E61DF-3590-4026-9366-5244FE772354}" dt="2025-02-06T06:54:47.778" v="20" actId="478"/>
          <ac:spMkLst>
            <pc:docMk/>
            <pc:sldMk cId="123917643" sldId="2146847758"/>
            <ac:spMk id="16" creationId="{E89D7AA5-5F87-0AC0-48A9-B522E9803BAD}"/>
          </ac:spMkLst>
        </pc:spChg>
      </pc:sldChg>
      <pc:sldChg chg="addSp delSp modSp del mod">
        <pc:chgData name="坂口 正樹" userId="d3a4a5c6-2c5c-4480-86fc-19af58e9c59e" providerId="ADAL" clId="{1C4E61DF-3590-4026-9366-5244FE772354}" dt="2025-02-06T06:54:20.997" v="11"/>
        <pc:sldMkLst>
          <pc:docMk/>
          <pc:sldMk cId="398374150" sldId="2146847759"/>
        </pc:sldMkLst>
        <pc:spChg chg="add mod">
          <ac:chgData name="坂口 正樹" userId="d3a4a5c6-2c5c-4480-86fc-19af58e9c59e" providerId="ADAL" clId="{1C4E61DF-3590-4026-9366-5244FE772354}" dt="2025-02-06T06:54:11.748" v="10"/>
          <ac:spMkLst>
            <pc:docMk/>
            <pc:sldMk cId="398374150" sldId="2146847759"/>
            <ac:spMk id="2" creationId="{94DFEC61-F8CC-F933-9CDD-096543F624C1}"/>
          </ac:spMkLst>
        </pc:spChg>
        <pc:spChg chg="add mod">
          <ac:chgData name="坂口 正樹" userId="d3a4a5c6-2c5c-4480-86fc-19af58e9c59e" providerId="ADAL" clId="{1C4E61DF-3590-4026-9366-5244FE772354}" dt="2025-02-06T06:54:20.997" v="11"/>
          <ac:spMkLst>
            <pc:docMk/>
            <pc:sldMk cId="398374150" sldId="2146847759"/>
            <ac:spMk id="3" creationId="{C27503F9-8443-E005-BF65-15AA97709759}"/>
          </ac:spMkLst>
        </pc:spChg>
        <pc:spChg chg="del">
          <ac:chgData name="坂口 正樹" userId="d3a4a5c6-2c5c-4480-86fc-19af58e9c59e" providerId="ADAL" clId="{1C4E61DF-3590-4026-9366-5244FE772354}" dt="2025-02-06T06:54:11.553" v="9" actId="478"/>
          <ac:spMkLst>
            <pc:docMk/>
            <pc:sldMk cId="398374150" sldId="2146847759"/>
            <ac:spMk id="9" creationId="{E96CEE36-2C0D-0E0A-53EE-E341702215F2}"/>
          </ac:spMkLst>
        </pc:spChg>
      </pc:sldChg>
      <pc:sldChg chg="addSp delSp modSp del mod">
        <pc:chgData name="坂口 正樹" userId="d3a4a5c6-2c5c-4480-86fc-19af58e9c59e" providerId="ADAL" clId="{1C4E61DF-3590-4026-9366-5244FE772354}" dt="2025-02-06T06:54:00.117" v="6"/>
        <pc:sldMkLst>
          <pc:docMk/>
          <pc:sldMk cId="1813977010" sldId="2146847769"/>
        </pc:sldMkLst>
        <pc:spChg chg="add mod">
          <ac:chgData name="坂口 正樹" userId="d3a4a5c6-2c5c-4480-86fc-19af58e9c59e" providerId="ADAL" clId="{1C4E61DF-3590-4026-9366-5244FE772354}" dt="2025-02-06T06:54:00.117" v="6"/>
          <ac:spMkLst>
            <pc:docMk/>
            <pc:sldMk cId="1813977010" sldId="2146847769"/>
            <ac:spMk id="4" creationId="{753FDFC5-5262-C8AB-94C3-641B2F81E0E0}"/>
          </ac:spMkLst>
        </pc:spChg>
        <pc:spChg chg="del">
          <ac:chgData name="坂口 正樹" userId="d3a4a5c6-2c5c-4480-86fc-19af58e9c59e" providerId="ADAL" clId="{1C4E61DF-3590-4026-9366-5244FE772354}" dt="2025-02-06T06:53:46.054" v="2" actId="478"/>
          <ac:spMkLst>
            <pc:docMk/>
            <pc:sldMk cId="1813977010" sldId="2146847769"/>
            <ac:spMk id="28" creationId="{BDD911E4-9FEF-7870-AEC8-D54423EE7B12}"/>
          </ac:spMkLst>
        </pc:spChg>
      </pc:sldChg>
      <pc:sldChg chg="addSp delSp modSp del mod">
        <pc:chgData name="坂口 正樹" userId="d3a4a5c6-2c5c-4480-86fc-19af58e9c59e" providerId="ADAL" clId="{1C4E61DF-3590-4026-9366-5244FE772354}" dt="2025-02-06T06:54:34.050" v="17"/>
        <pc:sldMkLst>
          <pc:docMk/>
          <pc:sldMk cId="534802082" sldId="2146848268"/>
        </pc:sldMkLst>
        <pc:spChg chg="add mod">
          <ac:chgData name="坂口 正樹" userId="d3a4a5c6-2c5c-4480-86fc-19af58e9c59e" providerId="ADAL" clId="{1C4E61DF-3590-4026-9366-5244FE772354}" dt="2025-02-06T06:54:30.495" v="15"/>
          <ac:spMkLst>
            <pc:docMk/>
            <pc:sldMk cId="534802082" sldId="2146848268"/>
            <ac:spMk id="4" creationId="{0E90B236-B6DC-8AF1-46EB-C5146F19BB2F}"/>
          </ac:spMkLst>
        </pc:spChg>
        <pc:spChg chg="add mod">
          <ac:chgData name="坂口 正樹" userId="d3a4a5c6-2c5c-4480-86fc-19af58e9c59e" providerId="ADAL" clId="{1C4E61DF-3590-4026-9366-5244FE772354}" dt="2025-02-06T06:54:34.050" v="17"/>
          <ac:spMkLst>
            <pc:docMk/>
            <pc:sldMk cId="534802082" sldId="2146848268"/>
            <ac:spMk id="5" creationId="{B994D165-89AE-BF6D-A051-992C1C1B6E41}"/>
          </ac:spMkLst>
        </pc:spChg>
        <pc:spChg chg="del mod">
          <ac:chgData name="坂口 正樹" userId="d3a4a5c6-2c5c-4480-86fc-19af58e9c59e" providerId="ADAL" clId="{1C4E61DF-3590-4026-9366-5244FE772354}" dt="2025-02-06T06:54:33.818" v="16" actId="478"/>
          <ac:spMkLst>
            <pc:docMk/>
            <pc:sldMk cId="534802082" sldId="2146848268"/>
            <ac:spMk id="13" creationId="{25B1E787-DA04-C4E9-8325-CFFAD18EBA01}"/>
          </ac:spMkLst>
        </pc:spChg>
      </pc:sldChg>
      <pc:sldChg chg="addSp delSp modSp del mod">
        <pc:chgData name="坂口 正樹" userId="d3a4a5c6-2c5c-4480-86fc-19af58e9c59e" providerId="ADAL" clId="{1C4E61DF-3590-4026-9366-5244FE772354}" dt="2025-02-06T06:54:24.417" v="13"/>
        <pc:sldMkLst>
          <pc:docMk/>
          <pc:sldMk cId="1079013996" sldId="2146848271"/>
        </pc:sldMkLst>
        <pc:spChg chg="add mod">
          <ac:chgData name="坂口 正樹" userId="d3a4a5c6-2c5c-4480-86fc-19af58e9c59e" providerId="ADAL" clId="{1C4E61DF-3590-4026-9366-5244FE772354}" dt="2025-02-06T06:54:24.417" v="13"/>
          <ac:spMkLst>
            <pc:docMk/>
            <pc:sldMk cId="1079013996" sldId="2146848271"/>
            <ac:spMk id="2" creationId="{84567C21-4749-12BB-329F-E30C62EB2262}"/>
          </ac:spMkLst>
        </pc:spChg>
        <pc:spChg chg="del">
          <ac:chgData name="坂口 正樹" userId="d3a4a5c6-2c5c-4480-86fc-19af58e9c59e" providerId="ADAL" clId="{1C4E61DF-3590-4026-9366-5244FE772354}" dt="2025-02-06T06:54:24.156" v="12" actId="478"/>
          <ac:spMkLst>
            <pc:docMk/>
            <pc:sldMk cId="1079013996" sldId="2146848271"/>
            <ac:spMk id="12" creationId="{80962388-8528-DA9E-14DD-BFB8441B3298}"/>
          </ac:spMkLst>
        </pc:spChg>
      </pc:sldChg>
      <pc:sldChg chg="addSp delSp modSp del mod">
        <pc:chgData name="坂口 正樹" userId="d3a4a5c6-2c5c-4480-86fc-19af58e9c59e" providerId="ADAL" clId="{1C4E61DF-3590-4026-9366-5244FE772354}" dt="2025-02-06T06:54:57.161" v="24"/>
        <pc:sldMkLst>
          <pc:docMk/>
          <pc:sldMk cId="4248386783" sldId="2146848275"/>
        </pc:sldMkLst>
        <pc:spChg chg="add mod">
          <ac:chgData name="坂口 正樹" userId="d3a4a5c6-2c5c-4480-86fc-19af58e9c59e" providerId="ADAL" clId="{1C4E61DF-3590-4026-9366-5244FE772354}" dt="2025-02-06T06:54:57.161" v="24"/>
          <ac:spMkLst>
            <pc:docMk/>
            <pc:sldMk cId="4248386783" sldId="2146848275"/>
            <ac:spMk id="2" creationId="{42B534D6-4C69-572E-FC71-4310BF199DD6}"/>
          </ac:spMkLst>
        </pc:spChg>
        <pc:spChg chg="del mod">
          <ac:chgData name="坂口 正樹" userId="d3a4a5c6-2c5c-4480-86fc-19af58e9c59e" providerId="ADAL" clId="{1C4E61DF-3590-4026-9366-5244FE772354}" dt="2025-02-06T06:54:56.740" v="23" actId="478"/>
          <ac:spMkLst>
            <pc:docMk/>
            <pc:sldMk cId="4248386783" sldId="2146848275"/>
            <ac:spMk id="8" creationId="{DBFC1ED7-029B-9837-CE6C-5D5D80DF70EF}"/>
          </ac:spMkLst>
        </pc:spChg>
      </pc:sldChg>
      <pc:sldChg chg="addSp delSp modSp del mod">
        <pc:chgData name="坂口 正樹" userId="d3a4a5c6-2c5c-4480-86fc-19af58e9c59e" providerId="ADAL" clId="{1C4E61DF-3590-4026-9366-5244FE772354}" dt="2025-02-06T06:54:38.679" v="19"/>
        <pc:sldMkLst>
          <pc:docMk/>
          <pc:sldMk cId="921784455" sldId="2146848277"/>
        </pc:sldMkLst>
        <pc:spChg chg="add mod">
          <ac:chgData name="坂口 正樹" userId="d3a4a5c6-2c5c-4480-86fc-19af58e9c59e" providerId="ADAL" clId="{1C4E61DF-3590-4026-9366-5244FE772354}" dt="2025-02-06T06:54:38.679" v="19"/>
          <ac:spMkLst>
            <pc:docMk/>
            <pc:sldMk cId="921784455" sldId="2146848277"/>
            <ac:spMk id="2" creationId="{231492D9-AE71-E72A-3696-29E18FFA09BF}"/>
          </ac:spMkLst>
        </pc:spChg>
        <pc:spChg chg="del">
          <ac:chgData name="坂口 正樹" userId="d3a4a5c6-2c5c-4480-86fc-19af58e9c59e" providerId="ADAL" clId="{1C4E61DF-3590-4026-9366-5244FE772354}" dt="2025-02-06T06:54:38.319" v="18" actId="478"/>
          <ac:spMkLst>
            <pc:docMk/>
            <pc:sldMk cId="921784455" sldId="2146848277"/>
            <ac:spMk id="11" creationId="{B1D6D215-07BB-3E1F-4ED3-A31198A0E87A}"/>
          </ac:spMkLst>
        </pc:spChg>
      </pc:sldChg>
      <pc:sldChg chg="addSp delSp modSp del mod">
        <pc:chgData name="坂口 正樹" userId="d3a4a5c6-2c5c-4480-86fc-19af58e9c59e" providerId="ADAL" clId="{1C4E61DF-3590-4026-9366-5244FE772354}" dt="2025-02-06T06:55:01.682" v="26"/>
        <pc:sldMkLst>
          <pc:docMk/>
          <pc:sldMk cId="3990800531" sldId="2146848279"/>
        </pc:sldMkLst>
        <pc:spChg chg="add mod">
          <ac:chgData name="坂口 正樹" userId="d3a4a5c6-2c5c-4480-86fc-19af58e9c59e" providerId="ADAL" clId="{1C4E61DF-3590-4026-9366-5244FE772354}" dt="2025-02-06T06:55:01.682" v="26"/>
          <ac:spMkLst>
            <pc:docMk/>
            <pc:sldMk cId="3990800531" sldId="2146848279"/>
            <ac:spMk id="5" creationId="{953C1D52-6FB9-0F1D-375C-F62799A1C3B6}"/>
          </ac:spMkLst>
        </pc:spChg>
        <pc:spChg chg="del">
          <ac:chgData name="坂口 正樹" userId="d3a4a5c6-2c5c-4480-86fc-19af58e9c59e" providerId="ADAL" clId="{1C4E61DF-3590-4026-9366-5244FE772354}" dt="2025-02-06T06:55:01.405" v="25" actId="478"/>
          <ac:spMkLst>
            <pc:docMk/>
            <pc:sldMk cId="3990800531" sldId="2146848279"/>
            <ac:spMk id="10" creationId="{BA222D97-E5DB-E2D0-EBF2-E87DEB7AE7C3}"/>
          </ac:spMkLst>
        </pc:spChg>
      </pc:sldChg>
      <pc:sldChg chg="addSp delSp modSp del mod">
        <pc:chgData name="坂口 正樹" userId="d3a4a5c6-2c5c-4480-86fc-19af58e9c59e" providerId="ADAL" clId="{1C4E61DF-3590-4026-9366-5244FE772354}" dt="2025-02-06T06:55:10.317" v="29" actId="14100"/>
        <pc:sldMkLst>
          <pc:docMk/>
          <pc:sldMk cId="3494254903" sldId="2146848280"/>
        </pc:sldMkLst>
        <pc:spChg chg="add mod">
          <ac:chgData name="坂口 正樹" userId="d3a4a5c6-2c5c-4480-86fc-19af58e9c59e" providerId="ADAL" clId="{1C4E61DF-3590-4026-9366-5244FE772354}" dt="2025-02-06T06:55:06.919" v="28"/>
          <ac:spMkLst>
            <pc:docMk/>
            <pc:sldMk cId="3494254903" sldId="2146848280"/>
            <ac:spMk id="4" creationId="{F46F4049-2897-B3F5-A2FC-CA3178C4A981}"/>
          </ac:spMkLst>
        </pc:spChg>
        <pc:spChg chg="del">
          <ac:chgData name="坂口 正樹" userId="d3a4a5c6-2c5c-4480-86fc-19af58e9c59e" providerId="ADAL" clId="{1C4E61DF-3590-4026-9366-5244FE772354}" dt="2025-02-06T06:55:06.667" v="27" actId="478"/>
          <ac:spMkLst>
            <pc:docMk/>
            <pc:sldMk cId="3494254903" sldId="2146848280"/>
            <ac:spMk id="21" creationId="{3F4E7A6D-221B-F30C-2A02-73DDAEB282EE}"/>
          </ac:spMkLst>
        </pc:spChg>
        <pc:spChg chg="mod">
          <ac:chgData name="坂口 正樹" userId="d3a4a5c6-2c5c-4480-86fc-19af58e9c59e" providerId="ADAL" clId="{1C4E61DF-3590-4026-9366-5244FE772354}" dt="2025-02-06T06:55:10.317" v="29" actId="14100"/>
          <ac:spMkLst>
            <pc:docMk/>
            <pc:sldMk cId="3494254903" sldId="2146848280"/>
            <ac:spMk id="3528" creationId="{00000000-0000-0000-0000-000000000000}"/>
          </ac:spMkLst>
        </pc:spChg>
      </pc:sldChg>
      <pc:sldChg chg="del">
        <pc:chgData name="坂口 正樹" userId="d3a4a5c6-2c5c-4480-86fc-19af58e9c59e" providerId="ADAL" clId="{1C4E61DF-3590-4026-9366-5244FE772354}" dt="2025-02-06T06:53:11.657" v="0" actId="47"/>
        <pc:sldMkLst>
          <pc:docMk/>
          <pc:sldMk cId="254573100" sldId="2146848281"/>
        </pc:sldMkLst>
      </pc:sldChg>
      <pc:sldChg chg="del">
        <pc:chgData name="坂口 正樹" userId="d3a4a5c6-2c5c-4480-86fc-19af58e9c59e" providerId="ADAL" clId="{1C4E61DF-3590-4026-9366-5244FE772354}" dt="2025-02-06T06:53:11.657" v="0" actId="47"/>
        <pc:sldMkLst>
          <pc:docMk/>
          <pc:sldMk cId="3841603392" sldId="2146848282"/>
        </pc:sldMkLst>
      </pc:sldChg>
      <pc:sldChg chg="addSp delSp modSp del mod">
        <pc:chgData name="坂口 正樹" userId="d3a4a5c6-2c5c-4480-86fc-19af58e9c59e" providerId="ADAL" clId="{1C4E61DF-3590-4026-9366-5244FE772354}" dt="2025-02-06T06:54:04.989" v="8"/>
        <pc:sldMkLst>
          <pc:docMk/>
          <pc:sldMk cId="2875058526" sldId="2146848283"/>
        </pc:sldMkLst>
        <pc:spChg chg="add mod">
          <ac:chgData name="坂口 正樹" userId="d3a4a5c6-2c5c-4480-86fc-19af58e9c59e" providerId="ADAL" clId="{1C4E61DF-3590-4026-9366-5244FE772354}" dt="2025-02-06T06:54:04.989" v="8"/>
          <ac:spMkLst>
            <pc:docMk/>
            <pc:sldMk cId="2875058526" sldId="2146848283"/>
            <ac:spMk id="2" creationId="{8DBD161A-CFBE-1EB1-41B4-99C7377C876C}"/>
          </ac:spMkLst>
        </pc:spChg>
        <pc:spChg chg="del">
          <ac:chgData name="坂口 正樹" userId="d3a4a5c6-2c5c-4480-86fc-19af58e9c59e" providerId="ADAL" clId="{1C4E61DF-3590-4026-9366-5244FE772354}" dt="2025-02-06T06:54:04.778" v="7" actId="478"/>
          <ac:spMkLst>
            <pc:docMk/>
            <pc:sldMk cId="2875058526" sldId="2146848283"/>
            <ac:spMk id="5" creationId="{91954D2F-38D1-F914-4129-F09491ED4CA8}"/>
          </ac:spMkLst>
        </pc:spChg>
      </pc:sldChg>
      <pc:sldChg chg="modSp mod">
        <pc:chgData name="坂口 正樹" userId="d3a4a5c6-2c5c-4480-86fc-19af58e9c59e" providerId="ADAL" clId="{1C4E61DF-3590-4026-9366-5244FE772354}" dt="2025-02-06T06:53:55.881" v="5" actId="6549"/>
        <pc:sldMkLst>
          <pc:docMk/>
          <pc:sldMk cId="3211195006" sldId="2147379357"/>
        </pc:sldMkLst>
        <pc:spChg chg="mod">
          <ac:chgData name="坂口 正樹" userId="d3a4a5c6-2c5c-4480-86fc-19af58e9c59e" providerId="ADAL" clId="{1C4E61DF-3590-4026-9366-5244FE772354}" dt="2025-02-06T06:53:55.881" v="5" actId="6549"/>
          <ac:spMkLst>
            <pc:docMk/>
            <pc:sldMk cId="3211195006" sldId="2147379357"/>
            <ac:spMk id="2014" creationId="{00000000-0000-0000-0000-000000000000}"/>
          </ac:spMkLst>
        </pc:spChg>
      </pc:sldChg>
      <pc:sldChg chg="add del">
        <pc:chgData name="坂口 正樹" userId="d3a4a5c6-2c5c-4480-86fc-19af58e9c59e" providerId="ADAL" clId="{1C4E61DF-3590-4026-9366-5244FE772354}" dt="2025-02-06T06:53:48.106" v="4"/>
        <pc:sldMkLst>
          <pc:docMk/>
          <pc:sldMk cId="2737324111" sldId="2147481139"/>
        </pc:sldMkLst>
      </pc:sldChg>
      <pc:sldChg chg="add del">
        <pc:chgData name="坂口 正樹" userId="d3a4a5c6-2c5c-4480-86fc-19af58e9c59e" providerId="ADAL" clId="{1C4E61DF-3590-4026-9366-5244FE772354}" dt="2025-02-06T06:53:48.106" v="4"/>
        <pc:sldMkLst>
          <pc:docMk/>
          <pc:sldMk cId="830659692" sldId="2147481140"/>
        </pc:sldMkLst>
      </pc:sldChg>
      <pc:sldChg chg="add del">
        <pc:chgData name="坂口 正樹" userId="d3a4a5c6-2c5c-4480-86fc-19af58e9c59e" providerId="ADAL" clId="{1C4E61DF-3590-4026-9366-5244FE772354}" dt="2025-02-06T06:53:48.106" v="4"/>
        <pc:sldMkLst>
          <pc:docMk/>
          <pc:sldMk cId="3574190933" sldId="2147481141"/>
        </pc:sldMkLst>
      </pc:sldChg>
      <pc:sldChg chg="add del">
        <pc:chgData name="坂口 正樹" userId="d3a4a5c6-2c5c-4480-86fc-19af58e9c59e" providerId="ADAL" clId="{1C4E61DF-3590-4026-9366-5244FE772354}" dt="2025-02-06T06:53:48.106" v="4"/>
        <pc:sldMkLst>
          <pc:docMk/>
          <pc:sldMk cId="3814946831" sldId="2147481142"/>
        </pc:sldMkLst>
      </pc:sldChg>
      <pc:sldChg chg="add del">
        <pc:chgData name="坂口 正樹" userId="d3a4a5c6-2c5c-4480-86fc-19af58e9c59e" providerId="ADAL" clId="{1C4E61DF-3590-4026-9366-5244FE772354}" dt="2025-02-06T06:53:48.106" v="4"/>
        <pc:sldMkLst>
          <pc:docMk/>
          <pc:sldMk cId="1172214125" sldId="2147481143"/>
        </pc:sldMkLst>
      </pc:sldChg>
      <pc:sldChg chg="add del">
        <pc:chgData name="坂口 正樹" userId="d3a4a5c6-2c5c-4480-86fc-19af58e9c59e" providerId="ADAL" clId="{1C4E61DF-3590-4026-9366-5244FE772354}" dt="2025-02-06T06:53:48.106" v="4"/>
        <pc:sldMkLst>
          <pc:docMk/>
          <pc:sldMk cId="3976875645" sldId="2147481144"/>
        </pc:sldMkLst>
      </pc:sldChg>
      <pc:sldChg chg="add del">
        <pc:chgData name="坂口 正樹" userId="d3a4a5c6-2c5c-4480-86fc-19af58e9c59e" providerId="ADAL" clId="{1C4E61DF-3590-4026-9366-5244FE772354}" dt="2025-02-06T06:53:48.106" v="4"/>
        <pc:sldMkLst>
          <pc:docMk/>
          <pc:sldMk cId="1753727414" sldId="2147481145"/>
        </pc:sldMkLst>
      </pc:sldChg>
      <pc:sldChg chg="add del">
        <pc:chgData name="坂口 正樹" userId="d3a4a5c6-2c5c-4480-86fc-19af58e9c59e" providerId="ADAL" clId="{1C4E61DF-3590-4026-9366-5244FE772354}" dt="2025-02-06T06:53:48.106" v="4"/>
        <pc:sldMkLst>
          <pc:docMk/>
          <pc:sldMk cId="3536111544" sldId="2147481146"/>
        </pc:sldMkLst>
      </pc:sldChg>
      <pc:sldChg chg="add del">
        <pc:chgData name="坂口 正樹" userId="d3a4a5c6-2c5c-4480-86fc-19af58e9c59e" providerId="ADAL" clId="{1C4E61DF-3590-4026-9366-5244FE772354}" dt="2025-02-06T06:53:48.106" v="4"/>
        <pc:sldMkLst>
          <pc:docMk/>
          <pc:sldMk cId="1812679736" sldId="2147481147"/>
        </pc:sldMkLst>
      </pc:sldChg>
      <pc:sldChg chg="add del">
        <pc:chgData name="坂口 正樹" userId="d3a4a5c6-2c5c-4480-86fc-19af58e9c59e" providerId="ADAL" clId="{1C4E61DF-3590-4026-9366-5244FE772354}" dt="2025-02-06T06:53:48.106" v="4"/>
        <pc:sldMkLst>
          <pc:docMk/>
          <pc:sldMk cId="2817985226" sldId="2147481148"/>
        </pc:sldMkLst>
      </pc:sldChg>
    </pc:docChg>
  </pc:docChgLst>
  <pc:docChgLst>
    <pc:chgData name="北村 達拡(KITAMURA Tatsuhiro)" userId="3eba064d-b8c0-427d-924a-2a4102cb5b4b" providerId="ADAL" clId="{4026C988-0856-49B7-80D2-D6FD303BE578}"/>
    <pc:docChg chg="addSld delSld modSld modSection">
      <pc:chgData name="北村 達拡(KITAMURA Tatsuhiro)" userId="3eba064d-b8c0-427d-924a-2a4102cb5b4b" providerId="ADAL" clId="{4026C988-0856-49B7-80D2-D6FD303BE578}" dt="2025-01-27T00:56:55.924" v="53"/>
      <pc:docMkLst>
        <pc:docMk/>
      </pc:docMkLst>
      <pc:sldChg chg="addSp modSp add del">
        <pc:chgData name="北村 達拡(KITAMURA Tatsuhiro)" userId="3eba064d-b8c0-427d-924a-2a4102cb5b4b" providerId="ADAL" clId="{4026C988-0856-49B7-80D2-D6FD303BE578}" dt="2025-01-27T00:56:49.937" v="49"/>
        <pc:sldMkLst>
          <pc:docMk/>
          <pc:sldMk cId="829938341" sldId="300"/>
        </pc:sldMkLst>
        <pc:spChg chg="add mod">
          <ac:chgData name="北村 達拡(KITAMURA Tatsuhiro)" userId="3eba064d-b8c0-427d-924a-2a4102cb5b4b" providerId="ADAL" clId="{4026C988-0856-49B7-80D2-D6FD303BE578}" dt="2025-01-27T00:51:26.662" v="27"/>
          <ac:spMkLst>
            <pc:docMk/>
            <pc:sldMk cId="829938341" sldId="300"/>
            <ac:spMk id="27" creationId="{DB87CDBF-D388-8EFA-8227-59290EDA533B}"/>
          </ac:spMkLst>
        </pc:spChg>
        <pc:spChg chg="add mod">
          <ac:chgData name="北村 達拡(KITAMURA Tatsuhiro)" userId="3eba064d-b8c0-427d-924a-2a4102cb5b4b" providerId="ADAL" clId="{4026C988-0856-49B7-80D2-D6FD303BE578}" dt="2025-01-27T00:56:49.937" v="49"/>
          <ac:spMkLst>
            <pc:docMk/>
            <pc:sldMk cId="829938341" sldId="300"/>
            <ac:spMk id="28" creationId="{47AC02ED-62F2-7821-E4A5-C72A824B2588}"/>
          </ac:spMkLst>
        </pc:spChg>
      </pc:sldChg>
      <pc:sldChg chg="del">
        <pc:chgData name="北村 達拡(KITAMURA Tatsuhiro)" userId="3eba064d-b8c0-427d-924a-2a4102cb5b4b" providerId="ADAL" clId="{4026C988-0856-49B7-80D2-D6FD303BE578}" dt="2025-01-27T00:46:14.758" v="0" actId="47"/>
        <pc:sldMkLst>
          <pc:docMk/>
          <pc:sldMk cId="3712347870" sldId="561"/>
        </pc:sldMkLst>
      </pc:sldChg>
      <pc:sldChg chg="del">
        <pc:chgData name="北村 達拡(KITAMURA Tatsuhiro)" userId="3eba064d-b8c0-427d-924a-2a4102cb5b4b" providerId="ADAL" clId="{4026C988-0856-49B7-80D2-D6FD303BE578}" dt="2025-01-27T00:46:14.758" v="0" actId="47"/>
        <pc:sldMkLst>
          <pc:docMk/>
          <pc:sldMk cId="538794241" sldId="563"/>
        </pc:sldMkLst>
      </pc:sldChg>
      <pc:sldChg chg="del">
        <pc:chgData name="北村 達拡(KITAMURA Tatsuhiro)" userId="3eba064d-b8c0-427d-924a-2a4102cb5b4b" providerId="ADAL" clId="{4026C988-0856-49B7-80D2-D6FD303BE578}" dt="2025-01-27T00:46:14.758" v="0" actId="47"/>
        <pc:sldMkLst>
          <pc:docMk/>
          <pc:sldMk cId="1849350645" sldId="564"/>
        </pc:sldMkLst>
      </pc:sldChg>
      <pc:sldChg chg="del">
        <pc:chgData name="北村 達拡(KITAMURA Tatsuhiro)" userId="3eba064d-b8c0-427d-924a-2a4102cb5b4b" providerId="ADAL" clId="{4026C988-0856-49B7-80D2-D6FD303BE578}" dt="2025-01-27T00:46:14.758" v="0" actId="47"/>
        <pc:sldMkLst>
          <pc:docMk/>
          <pc:sldMk cId="1419739050" sldId="565"/>
        </pc:sldMkLst>
      </pc:sldChg>
      <pc:sldChg chg="del">
        <pc:chgData name="北村 達拡(KITAMURA Tatsuhiro)" userId="3eba064d-b8c0-427d-924a-2a4102cb5b4b" providerId="ADAL" clId="{4026C988-0856-49B7-80D2-D6FD303BE578}" dt="2025-01-27T00:46:14.758" v="0" actId="47"/>
        <pc:sldMkLst>
          <pc:docMk/>
          <pc:sldMk cId="1863894763" sldId="566"/>
        </pc:sldMkLst>
      </pc:sldChg>
      <pc:sldChg chg="del">
        <pc:chgData name="北村 達拡(KITAMURA Tatsuhiro)" userId="3eba064d-b8c0-427d-924a-2a4102cb5b4b" providerId="ADAL" clId="{4026C988-0856-49B7-80D2-D6FD303BE578}" dt="2025-01-27T00:46:14.758" v="0" actId="47"/>
        <pc:sldMkLst>
          <pc:docMk/>
          <pc:sldMk cId="1966633599" sldId="567"/>
        </pc:sldMkLst>
      </pc:sldChg>
      <pc:sldChg chg="del">
        <pc:chgData name="北村 達拡(KITAMURA Tatsuhiro)" userId="3eba064d-b8c0-427d-924a-2a4102cb5b4b" providerId="ADAL" clId="{4026C988-0856-49B7-80D2-D6FD303BE578}" dt="2025-01-27T00:46:14.758" v="0" actId="47"/>
        <pc:sldMkLst>
          <pc:docMk/>
          <pc:sldMk cId="2405584701" sldId="575"/>
        </pc:sldMkLst>
      </pc:sldChg>
      <pc:sldChg chg="del">
        <pc:chgData name="北村 達拡(KITAMURA Tatsuhiro)" userId="3eba064d-b8c0-427d-924a-2a4102cb5b4b" providerId="ADAL" clId="{4026C988-0856-49B7-80D2-D6FD303BE578}" dt="2025-01-27T00:46:14.758" v="0" actId="47"/>
        <pc:sldMkLst>
          <pc:docMk/>
          <pc:sldMk cId="1679413112" sldId="578"/>
        </pc:sldMkLst>
      </pc:sldChg>
      <pc:sldChg chg="del">
        <pc:chgData name="北村 達拡(KITAMURA Tatsuhiro)" userId="3eba064d-b8c0-427d-924a-2a4102cb5b4b" providerId="ADAL" clId="{4026C988-0856-49B7-80D2-D6FD303BE578}" dt="2025-01-27T00:46:14.758" v="0" actId="47"/>
        <pc:sldMkLst>
          <pc:docMk/>
          <pc:sldMk cId="3649282333" sldId="2147379347"/>
        </pc:sldMkLst>
      </pc:sldChg>
      <pc:sldChg chg="del">
        <pc:chgData name="北村 達拡(KITAMURA Tatsuhiro)" userId="3eba064d-b8c0-427d-924a-2a4102cb5b4b" providerId="ADAL" clId="{4026C988-0856-49B7-80D2-D6FD303BE578}" dt="2025-01-27T00:46:14.758" v="0" actId="47"/>
        <pc:sldMkLst>
          <pc:docMk/>
          <pc:sldMk cId="1597711526" sldId="2147379348"/>
        </pc:sldMkLst>
      </pc:sldChg>
      <pc:sldChg chg="del">
        <pc:chgData name="北村 達拡(KITAMURA Tatsuhiro)" userId="3eba064d-b8c0-427d-924a-2a4102cb5b4b" providerId="ADAL" clId="{4026C988-0856-49B7-80D2-D6FD303BE578}" dt="2025-01-27T00:46:14.758" v="0" actId="47"/>
        <pc:sldMkLst>
          <pc:docMk/>
          <pc:sldMk cId="3120170800" sldId="2147379349"/>
        </pc:sldMkLst>
      </pc:sldChg>
      <pc:sldChg chg="del">
        <pc:chgData name="北村 達拡(KITAMURA Tatsuhiro)" userId="3eba064d-b8c0-427d-924a-2a4102cb5b4b" providerId="ADAL" clId="{4026C988-0856-49B7-80D2-D6FD303BE578}" dt="2025-01-27T00:46:14.758" v="0" actId="47"/>
        <pc:sldMkLst>
          <pc:docMk/>
          <pc:sldMk cId="3306227782" sldId="2147379350"/>
        </pc:sldMkLst>
      </pc:sldChg>
      <pc:sldChg chg="del">
        <pc:chgData name="北村 達拡(KITAMURA Tatsuhiro)" userId="3eba064d-b8c0-427d-924a-2a4102cb5b4b" providerId="ADAL" clId="{4026C988-0856-49B7-80D2-D6FD303BE578}" dt="2025-01-27T00:46:14.758" v="0" actId="47"/>
        <pc:sldMkLst>
          <pc:docMk/>
          <pc:sldMk cId="1389109825" sldId="2147379351"/>
        </pc:sldMkLst>
      </pc:sldChg>
      <pc:sldChg chg="del">
        <pc:chgData name="北村 達拡(KITAMURA Tatsuhiro)" userId="3eba064d-b8c0-427d-924a-2a4102cb5b4b" providerId="ADAL" clId="{4026C988-0856-49B7-80D2-D6FD303BE578}" dt="2025-01-27T00:46:14.758" v="0" actId="47"/>
        <pc:sldMkLst>
          <pc:docMk/>
          <pc:sldMk cId="1852977309" sldId="2147379352"/>
        </pc:sldMkLst>
      </pc:sldChg>
      <pc:sldChg chg="del">
        <pc:chgData name="北村 達拡(KITAMURA Tatsuhiro)" userId="3eba064d-b8c0-427d-924a-2a4102cb5b4b" providerId="ADAL" clId="{4026C988-0856-49B7-80D2-D6FD303BE578}" dt="2025-01-27T00:46:14.758" v="0" actId="47"/>
        <pc:sldMkLst>
          <pc:docMk/>
          <pc:sldMk cId="2686388366" sldId="2147379353"/>
        </pc:sldMkLst>
      </pc:sldChg>
      <pc:sldChg chg="del">
        <pc:chgData name="北村 達拡(KITAMURA Tatsuhiro)" userId="3eba064d-b8c0-427d-924a-2a4102cb5b4b" providerId="ADAL" clId="{4026C988-0856-49B7-80D2-D6FD303BE578}" dt="2025-01-27T00:46:14.758" v="0" actId="47"/>
        <pc:sldMkLst>
          <pc:docMk/>
          <pc:sldMk cId="1511383587" sldId="2147379354"/>
        </pc:sldMkLst>
      </pc:sldChg>
      <pc:sldChg chg="del">
        <pc:chgData name="北村 達拡(KITAMURA Tatsuhiro)" userId="3eba064d-b8c0-427d-924a-2a4102cb5b4b" providerId="ADAL" clId="{4026C988-0856-49B7-80D2-D6FD303BE578}" dt="2025-01-27T00:46:14.758" v="0" actId="47"/>
        <pc:sldMkLst>
          <pc:docMk/>
          <pc:sldMk cId="939594325" sldId="2147379355"/>
        </pc:sldMkLst>
      </pc:sldChg>
      <pc:sldChg chg="del">
        <pc:chgData name="北村 達拡(KITAMURA Tatsuhiro)" userId="3eba064d-b8c0-427d-924a-2a4102cb5b4b" providerId="ADAL" clId="{4026C988-0856-49B7-80D2-D6FD303BE578}" dt="2025-01-27T00:46:14.758" v="0" actId="47"/>
        <pc:sldMkLst>
          <pc:docMk/>
          <pc:sldMk cId="3211195006" sldId="2147379357"/>
        </pc:sldMkLst>
      </pc:sldChg>
      <pc:sldChg chg="addSp modSp add del">
        <pc:chgData name="北村 達拡(KITAMURA Tatsuhiro)" userId="3eba064d-b8c0-427d-924a-2a4102cb5b4b" providerId="ADAL" clId="{4026C988-0856-49B7-80D2-D6FD303BE578}" dt="2025-01-27T00:52:07.752" v="42"/>
        <pc:sldMkLst>
          <pc:docMk/>
          <pc:sldMk cId="403796867" sldId="2147379358"/>
        </pc:sldMkLst>
        <pc:spChg chg="add mod">
          <ac:chgData name="北村 達拡(KITAMURA Tatsuhiro)" userId="3eba064d-b8c0-427d-924a-2a4102cb5b4b" providerId="ADAL" clId="{4026C988-0856-49B7-80D2-D6FD303BE578}" dt="2025-01-27T00:51:16.615" v="20"/>
          <ac:spMkLst>
            <pc:docMk/>
            <pc:sldMk cId="403796867" sldId="2147379358"/>
            <ac:spMk id="5" creationId="{E91C38C4-54D0-EBA4-D172-6D610DD13756}"/>
          </ac:spMkLst>
        </pc:spChg>
        <pc:spChg chg="add mod">
          <ac:chgData name="北村 達拡(KITAMURA Tatsuhiro)" userId="3eba064d-b8c0-427d-924a-2a4102cb5b4b" providerId="ADAL" clId="{4026C988-0856-49B7-80D2-D6FD303BE578}" dt="2025-01-27T00:52:07.752" v="42"/>
          <ac:spMkLst>
            <pc:docMk/>
            <pc:sldMk cId="403796867" sldId="2147379358"/>
            <ac:spMk id="6" creationId="{23504221-CF05-3774-40BB-7DC874CDF00A}"/>
          </ac:spMkLst>
        </pc:spChg>
      </pc:sldChg>
      <pc:sldChg chg="del">
        <pc:chgData name="北村 達拡(KITAMURA Tatsuhiro)" userId="3eba064d-b8c0-427d-924a-2a4102cb5b4b" providerId="ADAL" clId="{4026C988-0856-49B7-80D2-D6FD303BE578}" dt="2025-01-27T00:46:14.758" v="0" actId="47"/>
        <pc:sldMkLst>
          <pc:docMk/>
          <pc:sldMk cId="2755238849" sldId="2147379359"/>
        </pc:sldMkLst>
      </pc:sldChg>
      <pc:sldChg chg="del">
        <pc:chgData name="北村 達拡(KITAMURA Tatsuhiro)" userId="3eba064d-b8c0-427d-924a-2a4102cb5b4b" providerId="ADAL" clId="{4026C988-0856-49B7-80D2-D6FD303BE578}" dt="2025-01-27T00:48:24.500" v="9" actId="47"/>
        <pc:sldMkLst>
          <pc:docMk/>
          <pc:sldMk cId="2455051569" sldId="2147379360"/>
        </pc:sldMkLst>
      </pc:sldChg>
      <pc:sldChg chg="del">
        <pc:chgData name="北村 達拡(KITAMURA Tatsuhiro)" userId="3eba064d-b8c0-427d-924a-2a4102cb5b4b" providerId="ADAL" clId="{4026C988-0856-49B7-80D2-D6FD303BE578}" dt="2025-01-27T00:46:14.758" v="0" actId="47"/>
        <pc:sldMkLst>
          <pc:docMk/>
          <pc:sldMk cId="655627335" sldId="2147379364"/>
        </pc:sldMkLst>
      </pc:sldChg>
      <pc:sldChg chg="addSp modSp add del">
        <pc:chgData name="北村 達拡(KITAMURA Tatsuhiro)" userId="3eba064d-b8c0-427d-924a-2a4102cb5b4b" providerId="ADAL" clId="{4026C988-0856-49B7-80D2-D6FD303BE578}" dt="2025-01-27T00:52:03.042" v="39"/>
        <pc:sldMkLst>
          <pc:docMk/>
          <pc:sldMk cId="4040013317" sldId="2147477029"/>
        </pc:sldMkLst>
        <pc:spChg chg="add mod">
          <ac:chgData name="北村 達拡(KITAMURA Tatsuhiro)" userId="3eba064d-b8c0-427d-924a-2a4102cb5b4b" providerId="ADAL" clId="{4026C988-0856-49B7-80D2-D6FD303BE578}" dt="2025-01-27T00:51:12.306" v="17"/>
          <ac:spMkLst>
            <pc:docMk/>
            <pc:sldMk cId="4040013317" sldId="2147477029"/>
            <ac:spMk id="2" creationId="{EFFD6590-1811-AEA5-93EB-B2D2D2FB3BBE}"/>
          </ac:spMkLst>
        </pc:spChg>
        <pc:spChg chg="add mod">
          <ac:chgData name="北村 達拡(KITAMURA Tatsuhiro)" userId="3eba064d-b8c0-427d-924a-2a4102cb5b4b" providerId="ADAL" clId="{4026C988-0856-49B7-80D2-D6FD303BE578}" dt="2025-01-27T00:52:03.042" v="39"/>
          <ac:spMkLst>
            <pc:docMk/>
            <pc:sldMk cId="4040013317" sldId="2147477029"/>
            <ac:spMk id="3" creationId="{C476F4FB-4556-DB36-BA85-29D1C41D3DA9}"/>
          </ac:spMkLst>
        </pc:spChg>
      </pc:sldChg>
      <pc:sldChg chg="add del">
        <pc:chgData name="北村 達拡(KITAMURA Tatsuhiro)" userId="3eba064d-b8c0-427d-924a-2a4102cb5b4b" providerId="ADAL" clId="{4026C988-0856-49B7-80D2-D6FD303BE578}" dt="2025-01-27T00:50:44.830" v="11" actId="47"/>
        <pc:sldMkLst>
          <pc:docMk/>
          <pc:sldMk cId="208701018" sldId="2147477040"/>
        </pc:sldMkLst>
      </pc:sldChg>
      <pc:sldChg chg="addSp modSp add del modNotes">
        <pc:chgData name="北村 達拡(KITAMURA Tatsuhiro)" userId="3eba064d-b8c0-427d-924a-2a4102cb5b4b" providerId="ADAL" clId="{4026C988-0856-49B7-80D2-D6FD303BE578}" dt="2025-01-27T00:51:46.849" v="32"/>
        <pc:sldMkLst>
          <pc:docMk/>
          <pc:sldMk cId="1021028085" sldId="2147477042"/>
        </pc:sldMkLst>
        <pc:spChg chg="add mod">
          <ac:chgData name="北村 達拡(KITAMURA Tatsuhiro)" userId="3eba064d-b8c0-427d-924a-2a4102cb5b4b" providerId="ADAL" clId="{4026C988-0856-49B7-80D2-D6FD303BE578}" dt="2025-01-27T00:51:01.219" v="12"/>
          <ac:spMkLst>
            <pc:docMk/>
            <pc:sldMk cId="1021028085" sldId="2147477042"/>
            <ac:spMk id="2" creationId="{274A5F90-8BA3-4A8C-44D1-BDF502E3FF6E}"/>
          </ac:spMkLst>
        </pc:spChg>
        <pc:spChg chg="add mod">
          <ac:chgData name="北村 達拡(KITAMURA Tatsuhiro)" userId="3eba064d-b8c0-427d-924a-2a4102cb5b4b" providerId="ADAL" clId="{4026C988-0856-49B7-80D2-D6FD303BE578}" dt="2025-01-27T00:51:46.849" v="32"/>
          <ac:spMkLst>
            <pc:docMk/>
            <pc:sldMk cId="1021028085" sldId="2147477042"/>
            <ac:spMk id="3" creationId="{7C8EA95B-88E8-0F76-C338-D5756374527F}"/>
          </ac:spMkLst>
        </pc:spChg>
      </pc:sldChg>
      <pc:sldChg chg="addSp modSp add del">
        <pc:chgData name="北村 達拡(KITAMURA Tatsuhiro)" userId="3eba064d-b8c0-427d-924a-2a4102cb5b4b" providerId="ADAL" clId="{4026C988-0856-49B7-80D2-D6FD303BE578}" dt="2025-01-27T00:52:04.801" v="40"/>
        <pc:sldMkLst>
          <pc:docMk/>
          <pc:sldMk cId="1493409658" sldId="2147477046"/>
        </pc:sldMkLst>
        <pc:spChg chg="add mod">
          <ac:chgData name="北村 達拡(KITAMURA Tatsuhiro)" userId="3eba064d-b8c0-427d-924a-2a4102cb5b4b" providerId="ADAL" clId="{4026C988-0856-49B7-80D2-D6FD303BE578}" dt="2025-01-27T00:51:13.768" v="18"/>
          <ac:spMkLst>
            <pc:docMk/>
            <pc:sldMk cId="1493409658" sldId="2147477046"/>
            <ac:spMk id="2" creationId="{7146CEAD-5522-0EFA-2EAA-BD3991960C41}"/>
          </ac:spMkLst>
        </pc:spChg>
        <pc:spChg chg="add mod">
          <ac:chgData name="北村 達拡(KITAMURA Tatsuhiro)" userId="3eba064d-b8c0-427d-924a-2a4102cb5b4b" providerId="ADAL" clId="{4026C988-0856-49B7-80D2-D6FD303BE578}" dt="2025-01-27T00:52:04.801" v="40"/>
          <ac:spMkLst>
            <pc:docMk/>
            <pc:sldMk cId="1493409658" sldId="2147477046"/>
            <ac:spMk id="3" creationId="{2F526F27-DE78-BDBF-7D8A-250E34464D2B}"/>
          </ac:spMkLst>
        </pc:spChg>
      </pc:sldChg>
      <pc:sldChg chg="addSp modSp add del">
        <pc:chgData name="北村 達拡(KITAMURA Tatsuhiro)" userId="3eba064d-b8c0-427d-924a-2a4102cb5b4b" providerId="ADAL" clId="{4026C988-0856-49B7-80D2-D6FD303BE578}" dt="2025-01-27T00:54:54.371" v="46"/>
        <pc:sldMkLst>
          <pc:docMk/>
          <pc:sldMk cId="1985542856" sldId="2147477066"/>
        </pc:sldMkLst>
        <pc:spChg chg="add mod">
          <ac:chgData name="北村 達拡(KITAMURA Tatsuhiro)" userId="3eba064d-b8c0-427d-924a-2a4102cb5b4b" providerId="ADAL" clId="{4026C988-0856-49B7-80D2-D6FD303BE578}" dt="2025-01-27T00:51:22.729" v="24"/>
          <ac:spMkLst>
            <pc:docMk/>
            <pc:sldMk cId="1985542856" sldId="2147477066"/>
            <ac:spMk id="2" creationId="{5993632E-F71B-08F2-7638-EFC2FC618C93}"/>
          </ac:spMkLst>
        </pc:spChg>
        <pc:spChg chg="add mod">
          <ac:chgData name="北村 達拡(KITAMURA Tatsuhiro)" userId="3eba064d-b8c0-427d-924a-2a4102cb5b4b" providerId="ADAL" clId="{4026C988-0856-49B7-80D2-D6FD303BE578}" dt="2025-01-27T00:54:54.371" v="46"/>
          <ac:spMkLst>
            <pc:docMk/>
            <pc:sldMk cId="1985542856" sldId="2147477066"/>
            <ac:spMk id="3" creationId="{C36FF788-F5B4-1205-08D3-B6D08765E316}"/>
          </ac:spMkLst>
        </pc:spChg>
      </pc:sldChg>
      <pc:sldChg chg="addSp modSp add del">
        <pc:chgData name="北村 達拡(KITAMURA Tatsuhiro)" userId="3eba064d-b8c0-427d-924a-2a4102cb5b4b" providerId="ADAL" clId="{4026C988-0856-49B7-80D2-D6FD303BE578}" dt="2025-01-27T00:56:45.964" v="47"/>
        <pc:sldMkLst>
          <pc:docMk/>
          <pc:sldMk cId="2019672797" sldId="2147477067"/>
        </pc:sldMkLst>
        <pc:spChg chg="add mod">
          <ac:chgData name="北村 達拡(KITAMURA Tatsuhiro)" userId="3eba064d-b8c0-427d-924a-2a4102cb5b4b" providerId="ADAL" clId="{4026C988-0856-49B7-80D2-D6FD303BE578}" dt="2025-01-27T00:51:23.813" v="25"/>
          <ac:spMkLst>
            <pc:docMk/>
            <pc:sldMk cId="2019672797" sldId="2147477067"/>
            <ac:spMk id="2" creationId="{85FE852A-DDBE-EFD6-7924-BD3E344F016C}"/>
          </ac:spMkLst>
        </pc:spChg>
        <pc:spChg chg="add mod">
          <ac:chgData name="北村 達拡(KITAMURA Tatsuhiro)" userId="3eba064d-b8c0-427d-924a-2a4102cb5b4b" providerId="ADAL" clId="{4026C988-0856-49B7-80D2-D6FD303BE578}" dt="2025-01-27T00:56:45.964" v="47"/>
          <ac:spMkLst>
            <pc:docMk/>
            <pc:sldMk cId="2019672797" sldId="2147477067"/>
            <ac:spMk id="3" creationId="{3C715CD6-B2C9-9FF3-F4C8-AD4D312C055B}"/>
          </ac:spMkLst>
        </pc:spChg>
      </pc:sldChg>
      <pc:sldChg chg="addSp modSp add del">
        <pc:chgData name="北村 達拡(KITAMURA Tatsuhiro)" userId="3eba064d-b8c0-427d-924a-2a4102cb5b4b" providerId="ADAL" clId="{4026C988-0856-49B7-80D2-D6FD303BE578}" dt="2025-01-27T00:56:51.540" v="50"/>
        <pc:sldMkLst>
          <pc:docMk/>
          <pc:sldMk cId="2605918862" sldId="2147477070"/>
        </pc:sldMkLst>
        <pc:spChg chg="add mod">
          <ac:chgData name="北村 達拡(KITAMURA Tatsuhiro)" userId="3eba064d-b8c0-427d-924a-2a4102cb5b4b" providerId="ADAL" clId="{4026C988-0856-49B7-80D2-D6FD303BE578}" dt="2025-01-27T00:51:28.139" v="28"/>
          <ac:spMkLst>
            <pc:docMk/>
            <pc:sldMk cId="2605918862" sldId="2147477070"/>
            <ac:spMk id="2" creationId="{ECE37A3D-8006-901A-5688-F45910E902CF}"/>
          </ac:spMkLst>
        </pc:spChg>
        <pc:spChg chg="add mod">
          <ac:chgData name="北村 達拡(KITAMURA Tatsuhiro)" userId="3eba064d-b8c0-427d-924a-2a4102cb5b4b" providerId="ADAL" clId="{4026C988-0856-49B7-80D2-D6FD303BE578}" dt="2025-01-27T00:56:51.540" v="50"/>
          <ac:spMkLst>
            <pc:docMk/>
            <pc:sldMk cId="2605918862" sldId="2147477070"/>
            <ac:spMk id="3" creationId="{B131AEBC-7C18-3314-C323-8D59C6F1BD87}"/>
          </ac:spMkLst>
        </pc:spChg>
      </pc:sldChg>
      <pc:sldChg chg="addSp modSp add del mod">
        <pc:chgData name="北村 達拡(KITAMURA Tatsuhiro)" userId="3eba064d-b8c0-427d-924a-2a4102cb5b4b" providerId="ADAL" clId="{4026C988-0856-49B7-80D2-D6FD303BE578}" dt="2025-01-27T00:51:59.466" v="38" actId="1035"/>
        <pc:sldMkLst>
          <pc:docMk/>
          <pc:sldMk cId="3241966011" sldId="2147477075"/>
        </pc:sldMkLst>
        <pc:spChg chg="add mod">
          <ac:chgData name="北村 達拡(KITAMURA Tatsuhiro)" userId="3eba064d-b8c0-427d-924a-2a4102cb5b4b" providerId="ADAL" clId="{4026C988-0856-49B7-80D2-D6FD303BE578}" dt="2025-01-27T00:51:11.400" v="16"/>
          <ac:spMkLst>
            <pc:docMk/>
            <pc:sldMk cId="3241966011" sldId="2147477075"/>
            <ac:spMk id="3" creationId="{B9573C5A-0779-FADD-1251-14A8F9E9A7E0}"/>
          </ac:spMkLst>
        </pc:spChg>
        <pc:spChg chg="add mod">
          <ac:chgData name="北村 達拡(KITAMURA Tatsuhiro)" userId="3eba064d-b8c0-427d-924a-2a4102cb5b4b" providerId="ADAL" clId="{4026C988-0856-49B7-80D2-D6FD303BE578}" dt="2025-01-27T00:51:59.466" v="38" actId="1035"/>
          <ac:spMkLst>
            <pc:docMk/>
            <pc:sldMk cId="3241966011" sldId="2147477075"/>
            <ac:spMk id="4" creationId="{650451CC-2558-DA4E-7620-7F8899C6721D}"/>
          </ac:spMkLst>
        </pc:spChg>
      </pc:sldChg>
      <pc:sldChg chg="addSp modSp add del">
        <pc:chgData name="北村 達拡(KITAMURA Tatsuhiro)" userId="3eba064d-b8c0-427d-924a-2a4102cb5b4b" providerId="ADAL" clId="{4026C988-0856-49B7-80D2-D6FD303BE578}" dt="2025-01-27T00:51:52.244" v="35"/>
        <pc:sldMkLst>
          <pc:docMk/>
          <pc:sldMk cId="556582855" sldId="2147477076"/>
        </pc:sldMkLst>
        <pc:spChg chg="add mod">
          <ac:chgData name="北村 達拡(KITAMURA Tatsuhiro)" userId="3eba064d-b8c0-427d-924a-2a4102cb5b4b" providerId="ADAL" clId="{4026C988-0856-49B7-80D2-D6FD303BE578}" dt="2025-01-27T00:51:09.116" v="15"/>
          <ac:spMkLst>
            <pc:docMk/>
            <pc:sldMk cId="556582855" sldId="2147477076"/>
            <ac:spMk id="3" creationId="{F623CDF6-71F3-0DBC-216A-4DD0C89A037A}"/>
          </ac:spMkLst>
        </pc:spChg>
        <pc:spChg chg="add mod">
          <ac:chgData name="北村 達拡(KITAMURA Tatsuhiro)" userId="3eba064d-b8c0-427d-924a-2a4102cb5b4b" providerId="ADAL" clId="{4026C988-0856-49B7-80D2-D6FD303BE578}" dt="2025-01-27T00:51:52.244" v="35"/>
          <ac:spMkLst>
            <pc:docMk/>
            <pc:sldMk cId="556582855" sldId="2147477076"/>
            <ac:spMk id="4" creationId="{CBA8AB76-8E6C-F6D9-C79A-A7A93D080AAA}"/>
          </ac:spMkLst>
        </pc:spChg>
      </pc:sldChg>
      <pc:sldChg chg="addSp modSp add del modNotes">
        <pc:chgData name="北村 達拡(KITAMURA Tatsuhiro)" userId="3eba064d-b8c0-427d-924a-2a4102cb5b4b" providerId="ADAL" clId="{4026C988-0856-49B7-80D2-D6FD303BE578}" dt="2025-01-27T00:56:55.924" v="53"/>
        <pc:sldMkLst>
          <pc:docMk/>
          <pc:sldMk cId="1835453504" sldId="2147481095"/>
        </pc:sldMkLst>
        <pc:spChg chg="add mod">
          <ac:chgData name="北村 達拡(KITAMURA Tatsuhiro)" userId="3eba064d-b8c0-427d-924a-2a4102cb5b4b" providerId="ADAL" clId="{4026C988-0856-49B7-80D2-D6FD303BE578}" dt="2025-01-27T00:51:31.864" v="31"/>
          <ac:spMkLst>
            <pc:docMk/>
            <pc:sldMk cId="1835453504" sldId="2147481095"/>
            <ac:spMk id="4" creationId="{CBABE1BF-5A67-2BD4-7D1F-EA5BA15A2F67}"/>
          </ac:spMkLst>
        </pc:spChg>
        <pc:spChg chg="add mod">
          <ac:chgData name="北村 達拡(KITAMURA Tatsuhiro)" userId="3eba064d-b8c0-427d-924a-2a4102cb5b4b" providerId="ADAL" clId="{4026C988-0856-49B7-80D2-D6FD303BE578}" dt="2025-01-27T00:56:55.924" v="53"/>
          <ac:spMkLst>
            <pc:docMk/>
            <pc:sldMk cId="1835453504" sldId="2147481095"/>
            <ac:spMk id="5" creationId="{A61634FD-44A3-5BB2-07AA-C4551CFBD6EA}"/>
          </ac:spMkLst>
        </pc:spChg>
      </pc:sldChg>
      <pc:sldChg chg="addSp modSp add del">
        <pc:chgData name="北村 達拡(KITAMURA Tatsuhiro)" userId="3eba064d-b8c0-427d-924a-2a4102cb5b4b" providerId="ADAL" clId="{4026C988-0856-49B7-80D2-D6FD303BE578}" dt="2025-01-27T00:54:49.913" v="45"/>
        <pc:sldMkLst>
          <pc:docMk/>
          <pc:sldMk cId="3597440354" sldId="2147481106"/>
        </pc:sldMkLst>
        <pc:spChg chg="add mod">
          <ac:chgData name="北村 達拡(KITAMURA Tatsuhiro)" userId="3eba064d-b8c0-427d-924a-2a4102cb5b4b" providerId="ADAL" clId="{4026C988-0856-49B7-80D2-D6FD303BE578}" dt="2025-01-27T00:51:20.450" v="23"/>
          <ac:spMkLst>
            <pc:docMk/>
            <pc:sldMk cId="3597440354" sldId="2147481106"/>
            <ac:spMk id="5" creationId="{1767034E-4014-A8B7-D1E7-57059E60EA76}"/>
          </ac:spMkLst>
        </pc:spChg>
        <pc:spChg chg="add mod">
          <ac:chgData name="北村 達拡(KITAMURA Tatsuhiro)" userId="3eba064d-b8c0-427d-924a-2a4102cb5b4b" providerId="ADAL" clId="{4026C988-0856-49B7-80D2-D6FD303BE578}" dt="2025-01-27T00:54:49.913" v="45"/>
          <ac:spMkLst>
            <pc:docMk/>
            <pc:sldMk cId="3597440354" sldId="2147481106"/>
            <ac:spMk id="6" creationId="{6B3F27AC-4E21-054E-7793-86EB44829F9C}"/>
          </ac:spMkLst>
        </pc:spChg>
      </pc:sldChg>
      <pc:sldChg chg="addSp modSp add del">
        <pc:chgData name="北村 達拡(KITAMURA Tatsuhiro)" userId="3eba064d-b8c0-427d-924a-2a4102cb5b4b" providerId="ADAL" clId="{4026C988-0856-49B7-80D2-D6FD303BE578}" dt="2025-01-27T00:56:53.002" v="51"/>
        <pc:sldMkLst>
          <pc:docMk/>
          <pc:sldMk cId="2457989967" sldId="2147481107"/>
        </pc:sldMkLst>
        <pc:spChg chg="add mod">
          <ac:chgData name="北村 達拡(KITAMURA Tatsuhiro)" userId="3eba064d-b8c0-427d-924a-2a4102cb5b4b" providerId="ADAL" clId="{4026C988-0856-49B7-80D2-D6FD303BE578}" dt="2025-01-27T00:51:29.641" v="29"/>
          <ac:spMkLst>
            <pc:docMk/>
            <pc:sldMk cId="2457989967" sldId="2147481107"/>
            <ac:spMk id="2" creationId="{27869EB5-72A4-24C3-E622-BD9AA6888A20}"/>
          </ac:spMkLst>
        </pc:spChg>
        <pc:spChg chg="add mod">
          <ac:chgData name="北村 達拡(KITAMURA Tatsuhiro)" userId="3eba064d-b8c0-427d-924a-2a4102cb5b4b" providerId="ADAL" clId="{4026C988-0856-49B7-80D2-D6FD303BE578}" dt="2025-01-27T00:56:53.002" v="51"/>
          <ac:spMkLst>
            <pc:docMk/>
            <pc:sldMk cId="2457989967" sldId="2147481107"/>
            <ac:spMk id="3" creationId="{9F7E6215-0DAE-641A-1BE6-8913455239F4}"/>
          </ac:spMkLst>
        </pc:spChg>
      </pc:sldChg>
      <pc:sldChg chg="addSp modSp add del">
        <pc:chgData name="北村 達拡(KITAMURA Tatsuhiro)" userId="3eba064d-b8c0-427d-924a-2a4102cb5b4b" providerId="ADAL" clId="{4026C988-0856-49B7-80D2-D6FD303BE578}" dt="2025-01-27T00:51:49.112" v="33"/>
        <pc:sldMkLst>
          <pc:docMk/>
          <pc:sldMk cId="1819117595" sldId="2147481108"/>
        </pc:sldMkLst>
        <pc:spChg chg="add mod">
          <ac:chgData name="北村 達拡(KITAMURA Tatsuhiro)" userId="3eba064d-b8c0-427d-924a-2a4102cb5b4b" providerId="ADAL" clId="{4026C988-0856-49B7-80D2-D6FD303BE578}" dt="2025-01-27T00:51:05.102" v="13"/>
          <ac:spMkLst>
            <pc:docMk/>
            <pc:sldMk cId="1819117595" sldId="2147481108"/>
            <ac:spMk id="2" creationId="{507E8229-D7DE-DECA-AF07-CEFA022F15C5}"/>
          </ac:spMkLst>
        </pc:spChg>
        <pc:spChg chg="add mod">
          <ac:chgData name="北村 達拡(KITAMURA Tatsuhiro)" userId="3eba064d-b8c0-427d-924a-2a4102cb5b4b" providerId="ADAL" clId="{4026C988-0856-49B7-80D2-D6FD303BE578}" dt="2025-01-27T00:51:49.112" v="33"/>
          <ac:spMkLst>
            <pc:docMk/>
            <pc:sldMk cId="1819117595" sldId="2147481108"/>
            <ac:spMk id="3" creationId="{EEF34A1C-9BDC-E945-859E-8DC014520726}"/>
          </ac:spMkLst>
        </pc:spChg>
      </pc:sldChg>
      <pc:sldChg chg="addSp modSp add del">
        <pc:chgData name="北村 達拡(KITAMURA Tatsuhiro)" userId="3eba064d-b8c0-427d-924a-2a4102cb5b4b" providerId="ADAL" clId="{4026C988-0856-49B7-80D2-D6FD303BE578}" dt="2025-01-27T00:51:50.514" v="34"/>
        <pc:sldMkLst>
          <pc:docMk/>
          <pc:sldMk cId="2083605659" sldId="2147481109"/>
        </pc:sldMkLst>
        <pc:spChg chg="add mod">
          <ac:chgData name="北村 達拡(KITAMURA Tatsuhiro)" userId="3eba064d-b8c0-427d-924a-2a4102cb5b4b" providerId="ADAL" clId="{4026C988-0856-49B7-80D2-D6FD303BE578}" dt="2025-01-27T00:51:07.573" v="14"/>
          <ac:spMkLst>
            <pc:docMk/>
            <pc:sldMk cId="2083605659" sldId="2147481109"/>
            <ac:spMk id="2" creationId="{4209037D-F72A-DE54-721F-0B379FD338B8}"/>
          </ac:spMkLst>
        </pc:spChg>
        <pc:spChg chg="add mod">
          <ac:chgData name="北村 達拡(KITAMURA Tatsuhiro)" userId="3eba064d-b8c0-427d-924a-2a4102cb5b4b" providerId="ADAL" clId="{4026C988-0856-49B7-80D2-D6FD303BE578}" dt="2025-01-27T00:51:50.514" v="34"/>
          <ac:spMkLst>
            <pc:docMk/>
            <pc:sldMk cId="2083605659" sldId="2147481109"/>
            <ac:spMk id="3" creationId="{43CAAE80-0818-C9FC-BFFB-C93BC62DE6BB}"/>
          </ac:spMkLst>
        </pc:spChg>
      </pc:sldChg>
      <pc:sldChg chg="addSp modSp add del">
        <pc:chgData name="北村 達拡(KITAMURA Tatsuhiro)" userId="3eba064d-b8c0-427d-924a-2a4102cb5b4b" providerId="ADAL" clId="{4026C988-0856-49B7-80D2-D6FD303BE578}" dt="2025-01-27T00:52:09.148" v="43"/>
        <pc:sldMkLst>
          <pc:docMk/>
          <pc:sldMk cId="67881493" sldId="2147481110"/>
        </pc:sldMkLst>
        <pc:spChg chg="add mod">
          <ac:chgData name="北村 達拡(KITAMURA Tatsuhiro)" userId="3eba064d-b8c0-427d-924a-2a4102cb5b4b" providerId="ADAL" clId="{4026C988-0856-49B7-80D2-D6FD303BE578}" dt="2025-01-27T00:51:17.687" v="21"/>
          <ac:spMkLst>
            <pc:docMk/>
            <pc:sldMk cId="67881493" sldId="2147481110"/>
            <ac:spMk id="2" creationId="{FAB894FC-008E-30D1-2929-29769C7FF3A0}"/>
          </ac:spMkLst>
        </pc:spChg>
        <pc:spChg chg="add mod">
          <ac:chgData name="北村 達拡(KITAMURA Tatsuhiro)" userId="3eba064d-b8c0-427d-924a-2a4102cb5b4b" providerId="ADAL" clId="{4026C988-0856-49B7-80D2-D6FD303BE578}" dt="2025-01-27T00:52:09.148" v="43"/>
          <ac:spMkLst>
            <pc:docMk/>
            <pc:sldMk cId="67881493" sldId="2147481110"/>
            <ac:spMk id="3" creationId="{70FA2065-0556-62B8-B8FF-0E0C5B9DACEE}"/>
          </ac:spMkLst>
        </pc:spChg>
      </pc:sldChg>
      <pc:sldChg chg="addSp modSp add del">
        <pc:chgData name="北村 達拡(KITAMURA Tatsuhiro)" userId="3eba064d-b8c0-427d-924a-2a4102cb5b4b" providerId="ADAL" clId="{4026C988-0856-49B7-80D2-D6FD303BE578}" dt="2025-01-27T00:56:48.775" v="48"/>
        <pc:sldMkLst>
          <pc:docMk/>
          <pc:sldMk cId="3849493114" sldId="2147481111"/>
        </pc:sldMkLst>
        <pc:spChg chg="add mod">
          <ac:chgData name="北村 達拡(KITAMURA Tatsuhiro)" userId="3eba064d-b8c0-427d-924a-2a4102cb5b4b" providerId="ADAL" clId="{4026C988-0856-49B7-80D2-D6FD303BE578}" dt="2025-01-27T00:51:25.275" v="26"/>
          <ac:spMkLst>
            <pc:docMk/>
            <pc:sldMk cId="3849493114" sldId="2147481111"/>
            <ac:spMk id="2" creationId="{CDD3E8C1-D5EF-0BE4-F1C9-346A68950758}"/>
          </ac:spMkLst>
        </pc:spChg>
        <pc:spChg chg="add mod">
          <ac:chgData name="北村 達拡(KITAMURA Tatsuhiro)" userId="3eba064d-b8c0-427d-924a-2a4102cb5b4b" providerId="ADAL" clId="{4026C988-0856-49B7-80D2-D6FD303BE578}" dt="2025-01-27T00:56:48.775" v="48"/>
          <ac:spMkLst>
            <pc:docMk/>
            <pc:sldMk cId="3849493114" sldId="2147481111"/>
            <ac:spMk id="3" creationId="{61A2B37A-AFC8-FFFC-7353-523E87A844BE}"/>
          </ac:spMkLst>
        </pc:spChg>
      </pc:sldChg>
      <pc:sldChg chg="addSp modSp add del">
        <pc:chgData name="北村 達拡(KITAMURA Tatsuhiro)" userId="3eba064d-b8c0-427d-924a-2a4102cb5b4b" providerId="ADAL" clId="{4026C988-0856-49B7-80D2-D6FD303BE578}" dt="2025-01-27T00:56:54.510" v="52"/>
        <pc:sldMkLst>
          <pc:docMk/>
          <pc:sldMk cId="106876346" sldId="2147481112"/>
        </pc:sldMkLst>
        <pc:spChg chg="add mod">
          <ac:chgData name="北村 達拡(KITAMURA Tatsuhiro)" userId="3eba064d-b8c0-427d-924a-2a4102cb5b4b" providerId="ADAL" clId="{4026C988-0856-49B7-80D2-D6FD303BE578}" dt="2025-01-27T00:51:31.075" v="30"/>
          <ac:spMkLst>
            <pc:docMk/>
            <pc:sldMk cId="106876346" sldId="2147481112"/>
            <ac:spMk id="2" creationId="{62FBB9DD-5892-EC5D-F05B-961CDBAAD9C9}"/>
          </ac:spMkLst>
        </pc:spChg>
        <pc:spChg chg="add mod">
          <ac:chgData name="北村 達拡(KITAMURA Tatsuhiro)" userId="3eba064d-b8c0-427d-924a-2a4102cb5b4b" providerId="ADAL" clId="{4026C988-0856-49B7-80D2-D6FD303BE578}" dt="2025-01-27T00:56:54.510" v="52"/>
          <ac:spMkLst>
            <pc:docMk/>
            <pc:sldMk cId="106876346" sldId="2147481112"/>
            <ac:spMk id="3" creationId="{62C2A3AF-D8BD-4A65-9A33-45D985697063}"/>
          </ac:spMkLst>
        </pc:spChg>
      </pc:sldChg>
      <pc:sldChg chg="addSp modSp add del">
        <pc:chgData name="北村 達拡(KITAMURA Tatsuhiro)" userId="3eba064d-b8c0-427d-924a-2a4102cb5b4b" providerId="ADAL" clId="{4026C988-0856-49B7-80D2-D6FD303BE578}" dt="2025-01-27T00:52:06.372" v="41"/>
        <pc:sldMkLst>
          <pc:docMk/>
          <pc:sldMk cId="605313648" sldId="2147481113"/>
        </pc:sldMkLst>
        <pc:spChg chg="add mod">
          <ac:chgData name="北村 達拡(KITAMURA Tatsuhiro)" userId="3eba064d-b8c0-427d-924a-2a4102cb5b4b" providerId="ADAL" clId="{4026C988-0856-49B7-80D2-D6FD303BE578}" dt="2025-01-27T00:51:15.184" v="19"/>
          <ac:spMkLst>
            <pc:docMk/>
            <pc:sldMk cId="605313648" sldId="2147481113"/>
            <ac:spMk id="5" creationId="{6BB086D0-DD08-9EA2-C074-3040DE20E72C}"/>
          </ac:spMkLst>
        </pc:spChg>
        <pc:spChg chg="add mod">
          <ac:chgData name="北村 達拡(KITAMURA Tatsuhiro)" userId="3eba064d-b8c0-427d-924a-2a4102cb5b4b" providerId="ADAL" clId="{4026C988-0856-49B7-80D2-D6FD303BE578}" dt="2025-01-27T00:52:06.372" v="41"/>
          <ac:spMkLst>
            <pc:docMk/>
            <pc:sldMk cId="605313648" sldId="2147481113"/>
            <ac:spMk id="18" creationId="{3DAC1680-885D-AEF7-F10A-5375010C3B5B}"/>
          </ac:spMkLst>
        </pc:spChg>
      </pc:sldChg>
      <pc:sldChg chg="addSp modSp add del">
        <pc:chgData name="北村 達拡(KITAMURA Tatsuhiro)" userId="3eba064d-b8c0-427d-924a-2a4102cb5b4b" providerId="ADAL" clId="{4026C988-0856-49B7-80D2-D6FD303BE578}" dt="2025-01-27T00:54:47.697" v="44"/>
        <pc:sldMkLst>
          <pc:docMk/>
          <pc:sldMk cId="2090955743" sldId="2147481115"/>
        </pc:sldMkLst>
        <pc:spChg chg="add mod">
          <ac:chgData name="北村 達拡(KITAMURA Tatsuhiro)" userId="3eba064d-b8c0-427d-924a-2a4102cb5b4b" providerId="ADAL" clId="{4026C988-0856-49B7-80D2-D6FD303BE578}" dt="2025-01-27T00:51:19.129" v="22"/>
          <ac:spMkLst>
            <pc:docMk/>
            <pc:sldMk cId="2090955743" sldId="2147481115"/>
            <ac:spMk id="7" creationId="{8D90C683-9369-E5AD-FC0E-94C69596B50D}"/>
          </ac:spMkLst>
        </pc:spChg>
        <pc:spChg chg="add mod">
          <ac:chgData name="北村 達拡(KITAMURA Tatsuhiro)" userId="3eba064d-b8c0-427d-924a-2a4102cb5b4b" providerId="ADAL" clId="{4026C988-0856-49B7-80D2-D6FD303BE578}" dt="2025-01-27T00:54:47.697" v="44"/>
          <ac:spMkLst>
            <pc:docMk/>
            <pc:sldMk cId="2090955743" sldId="2147481115"/>
            <ac:spMk id="10" creationId="{0B5F9040-983D-F57E-28CA-DA949E31069F}"/>
          </ac:spMkLst>
        </pc:spChg>
      </pc:sldChg>
      <pc:sldMasterChg chg="delSldLayout">
        <pc:chgData name="北村 達拡(KITAMURA Tatsuhiro)" userId="3eba064d-b8c0-427d-924a-2a4102cb5b4b" providerId="ADAL" clId="{4026C988-0856-49B7-80D2-D6FD303BE578}" dt="2025-01-27T00:46:14.758" v="0" actId="47"/>
        <pc:sldMasterMkLst>
          <pc:docMk/>
          <pc:sldMasterMk cId="0" sldId="2147483648"/>
        </pc:sldMasterMkLst>
        <pc:sldLayoutChg chg="del">
          <pc:chgData name="北村 達拡(KITAMURA Tatsuhiro)" userId="3eba064d-b8c0-427d-924a-2a4102cb5b4b" providerId="ADAL" clId="{4026C988-0856-49B7-80D2-D6FD303BE578}" dt="2025-01-27T00:46:14.758" v="0" actId="47"/>
          <pc:sldLayoutMkLst>
            <pc:docMk/>
            <pc:sldMasterMk cId="0" sldId="2147483648"/>
            <pc:sldLayoutMk cId="1653414266" sldId="2147483662"/>
          </pc:sldLayoutMkLst>
        </pc:sldLayoutChg>
      </pc:sldMasterChg>
    </pc:docChg>
  </pc:docChgLst>
  <pc:docChgLst>
    <pc:chgData name="林 誠(HAYASHI Makoto)" userId="95a88c0e-e74e-4309-9c97-d6b608e3f262" providerId="ADAL" clId="{A55082D0-25B5-4BE4-A490-4320304A6725}"/>
    <pc:docChg chg="delSld modSld modSection">
      <pc:chgData name="林 誠(HAYASHI Makoto)" userId="95a88c0e-e74e-4309-9c97-d6b608e3f262" providerId="ADAL" clId="{A55082D0-25B5-4BE4-A490-4320304A6725}" dt="2025-02-07T00:50:59.481" v="78" actId="1076"/>
      <pc:docMkLst>
        <pc:docMk/>
      </pc:docMkLst>
      <pc:sldChg chg="del">
        <pc:chgData name="林 誠(HAYASHI Makoto)" userId="95a88c0e-e74e-4309-9c97-d6b608e3f262" providerId="ADAL" clId="{A55082D0-25B5-4BE4-A490-4320304A6725}" dt="2025-01-21T03:15:49.070" v="0" actId="47"/>
        <pc:sldMkLst>
          <pc:docMk/>
          <pc:sldMk cId="0" sldId="296"/>
        </pc:sldMkLst>
      </pc:sldChg>
      <pc:sldChg chg="del modTransition">
        <pc:chgData name="林 誠(HAYASHI Makoto)" userId="95a88c0e-e74e-4309-9c97-d6b608e3f262" providerId="ADAL" clId="{A55082D0-25B5-4BE4-A490-4320304A6725}" dt="2025-02-07T00:49:34.500" v="5"/>
        <pc:sldMkLst>
          <pc:docMk/>
          <pc:sldMk cId="829938341" sldId="300"/>
        </pc:sldMkLst>
      </pc:sldChg>
      <pc:sldChg chg="del">
        <pc:chgData name="林 誠(HAYASHI Makoto)" userId="95a88c0e-e74e-4309-9c97-d6b608e3f262" providerId="ADAL" clId="{A55082D0-25B5-4BE4-A490-4320304A6725}" dt="2025-01-21T03:15:49.070" v="0" actId="47"/>
        <pc:sldMkLst>
          <pc:docMk/>
          <pc:sldMk cId="936551732" sldId="301"/>
        </pc:sldMkLst>
      </pc:sldChg>
      <pc:sldChg chg="del">
        <pc:chgData name="林 誠(HAYASHI Makoto)" userId="95a88c0e-e74e-4309-9c97-d6b608e3f262" providerId="ADAL" clId="{A55082D0-25B5-4BE4-A490-4320304A6725}" dt="2025-01-21T03:15:49.070" v="0" actId="47"/>
        <pc:sldMkLst>
          <pc:docMk/>
          <pc:sldMk cId="3579344726" sldId="306"/>
        </pc:sldMkLst>
      </pc:sldChg>
      <pc:sldChg chg="del">
        <pc:chgData name="林 誠(HAYASHI Makoto)" userId="95a88c0e-e74e-4309-9c97-d6b608e3f262" providerId="ADAL" clId="{A55082D0-25B5-4BE4-A490-4320304A6725}" dt="2025-01-21T03:15:49.070" v="0" actId="47"/>
        <pc:sldMkLst>
          <pc:docMk/>
          <pc:sldMk cId="1638578676" sldId="308"/>
        </pc:sldMkLst>
      </pc:sldChg>
      <pc:sldChg chg="del">
        <pc:chgData name="林 誠(HAYASHI Makoto)" userId="95a88c0e-e74e-4309-9c97-d6b608e3f262" providerId="ADAL" clId="{A55082D0-25B5-4BE4-A490-4320304A6725}" dt="2025-01-21T03:15:49.070" v="0" actId="47"/>
        <pc:sldMkLst>
          <pc:docMk/>
          <pc:sldMk cId="695929007" sldId="309"/>
        </pc:sldMkLst>
      </pc:sldChg>
      <pc:sldChg chg="del">
        <pc:chgData name="林 誠(HAYASHI Makoto)" userId="95a88c0e-e74e-4309-9c97-d6b608e3f262" providerId="ADAL" clId="{A55082D0-25B5-4BE4-A490-4320304A6725}" dt="2025-01-21T03:15:49.070" v="0" actId="47"/>
        <pc:sldMkLst>
          <pc:docMk/>
          <pc:sldMk cId="3280879320" sldId="310"/>
        </pc:sldMkLst>
      </pc:sldChg>
      <pc:sldChg chg="del">
        <pc:chgData name="林 誠(HAYASHI Makoto)" userId="95a88c0e-e74e-4309-9c97-d6b608e3f262" providerId="ADAL" clId="{A55082D0-25B5-4BE4-A490-4320304A6725}" dt="2025-01-21T03:15:49.070" v="0" actId="47"/>
        <pc:sldMkLst>
          <pc:docMk/>
          <pc:sldMk cId="106876346" sldId="465"/>
        </pc:sldMkLst>
      </pc:sldChg>
      <pc:sldChg chg="del">
        <pc:chgData name="林 誠(HAYASHI Makoto)" userId="95a88c0e-e74e-4309-9c97-d6b608e3f262" providerId="ADAL" clId="{A55082D0-25B5-4BE4-A490-4320304A6725}" dt="2025-02-05T01:03:49.127" v="1" actId="47"/>
        <pc:sldMkLst>
          <pc:docMk/>
          <pc:sldMk cId="2026311031" sldId="495"/>
        </pc:sldMkLst>
      </pc:sldChg>
      <pc:sldChg chg="del">
        <pc:chgData name="林 誠(HAYASHI Makoto)" userId="95a88c0e-e74e-4309-9c97-d6b608e3f262" providerId="ADAL" clId="{A55082D0-25B5-4BE4-A490-4320304A6725}" dt="2025-02-05T01:03:49.127" v="1" actId="47"/>
        <pc:sldMkLst>
          <pc:docMk/>
          <pc:sldMk cId="2326316784" sldId="503"/>
        </pc:sldMkLst>
      </pc:sldChg>
      <pc:sldChg chg="del">
        <pc:chgData name="林 誠(HAYASHI Makoto)" userId="95a88c0e-e74e-4309-9c97-d6b608e3f262" providerId="ADAL" clId="{A55082D0-25B5-4BE4-A490-4320304A6725}" dt="2025-02-05T01:03:49.127" v="1" actId="47"/>
        <pc:sldMkLst>
          <pc:docMk/>
          <pc:sldMk cId="2737191422" sldId="504"/>
        </pc:sldMkLst>
      </pc:sldChg>
      <pc:sldChg chg="del">
        <pc:chgData name="林 誠(HAYASHI Makoto)" userId="95a88c0e-e74e-4309-9c97-d6b608e3f262" providerId="ADAL" clId="{A55082D0-25B5-4BE4-A490-4320304A6725}" dt="2025-02-05T01:03:49.127" v="1" actId="47"/>
        <pc:sldMkLst>
          <pc:docMk/>
          <pc:sldMk cId="2153127503" sldId="506"/>
        </pc:sldMkLst>
      </pc:sldChg>
      <pc:sldChg chg="del">
        <pc:chgData name="林 誠(HAYASHI Makoto)" userId="95a88c0e-e74e-4309-9c97-d6b608e3f262" providerId="ADAL" clId="{A55082D0-25B5-4BE4-A490-4320304A6725}" dt="2025-02-05T01:03:49.127" v="1" actId="47"/>
        <pc:sldMkLst>
          <pc:docMk/>
          <pc:sldMk cId="1126373058" sldId="507"/>
        </pc:sldMkLst>
      </pc:sldChg>
      <pc:sldChg chg="del">
        <pc:chgData name="林 誠(HAYASHI Makoto)" userId="95a88c0e-e74e-4309-9c97-d6b608e3f262" providerId="ADAL" clId="{A55082D0-25B5-4BE4-A490-4320304A6725}" dt="2025-02-05T01:03:49.127" v="1" actId="47"/>
        <pc:sldMkLst>
          <pc:docMk/>
          <pc:sldMk cId="2355690674" sldId="508"/>
        </pc:sldMkLst>
      </pc:sldChg>
      <pc:sldChg chg="del">
        <pc:chgData name="林 誠(HAYASHI Makoto)" userId="95a88c0e-e74e-4309-9c97-d6b608e3f262" providerId="ADAL" clId="{A55082D0-25B5-4BE4-A490-4320304A6725}" dt="2025-02-05T01:03:49.127" v="1" actId="47"/>
        <pc:sldMkLst>
          <pc:docMk/>
          <pc:sldMk cId="3287076510" sldId="509"/>
        </pc:sldMkLst>
      </pc:sldChg>
      <pc:sldChg chg="del">
        <pc:chgData name="林 誠(HAYASHI Makoto)" userId="95a88c0e-e74e-4309-9c97-d6b608e3f262" providerId="ADAL" clId="{A55082D0-25B5-4BE4-A490-4320304A6725}" dt="2025-01-21T03:15:49.070" v="0" actId="47"/>
        <pc:sldMkLst>
          <pc:docMk/>
          <pc:sldMk cId="317389533" sldId="557"/>
        </pc:sldMkLst>
      </pc:sldChg>
      <pc:sldChg chg="del">
        <pc:chgData name="林 誠(HAYASHI Makoto)" userId="95a88c0e-e74e-4309-9c97-d6b608e3f262" providerId="ADAL" clId="{A55082D0-25B5-4BE4-A490-4320304A6725}" dt="2025-01-21T03:15:49.070" v="0" actId="47"/>
        <pc:sldMkLst>
          <pc:docMk/>
          <pc:sldMk cId="3251649116" sldId="558"/>
        </pc:sldMkLst>
      </pc:sldChg>
      <pc:sldChg chg="del">
        <pc:chgData name="林 誠(HAYASHI Makoto)" userId="95a88c0e-e74e-4309-9c97-d6b608e3f262" providerId="ADAL" clId="{A55082D0-25B5-4BE4-A490-4320304A6725}" dt="2025-02-05T01:03:49.127" v="1" actId="47"/>
        <pc:sldMkLst>
          <pc:docMk/>
          <pc:sldMk cId="1994524515" sldId="559"/>
        </pc:sldMkLst>
      </pc:sldChg>
      <pc:sldChg chg="del">
        <pc:chgData name="林 誠(HAYASHI Makoto)" userId="95a88c0e-e74e-4309-9c97-d6b608e3f262" providerId="ADAL" clId="{A55082D0-25B5-4BE4-A490-4320304A6725}" dt="2025-02-05T01:03:49.127" v="1" actId="47"/>
        <pc:sldMkLst>
          <pc:docMk/>
          <pc:sldMk cId="1451366755" sldId="560"/>
        </pc:sldMkLst>
      </pc:sldChg>
      <pc:sldChg chg="del">
        <pc:chgData name="林 誠(HAYASHI Makoto)" userId="95a88c0e-e74e-4309-9c97-d6b608e3f262" providerId="ADAL" clId="{A55082D0-25B5-4BE4-A490-4320304A6725}" dt="2025-02-05T01:03:49.127" v="1" actId="47"/>
        <pc:sldMkLst>
          <pc:docMk/>
          <pc:sldMk cId="2905086862" sldId="568"/>
        </pc:sldMkLst>
      </pc:sldChg>
      <pc:sldChg chg="del">
        <pc:chgData name="林 誠(HAYASHI Makoto)" userId="95a88c0e-e74e-4309-9c97-d6b608e3f262" providerId="ADAL" clId="{A55082D0-25B5-4BE4-A490-4320304A6725}" dt="2025-02-05T01:03:49.127" v="1" actId="47"/>
        <pc:sldMkLst>
          <pc:docMk/>
          <pc:sldMk cId="3969929307" sldId="569"/>
        </pc:sldMkLst>
      </pc:sldChg>
      <pc:sldChg chg="del">
        <pc:chgData name="林 誠(HAYASHI Makoto)" userId="95a88c0e-e74e-4309-9c97-d6b608e3f262" providerId="ADAL" clId="{A55082D0-25B5-4BE4-A490-4320304A6725}" dt="2025-02-05T01:03:49.127" v="1" actId="47"/>
        <pc:sldMkLst>
          <pc:docMk/>
          <pc:sldMk cId="1138926428" sldId="570"/>
        </pc:sldMkLst>
      </pc:sldChg>
      <pc:sldChg chg="del">
        <pc:chgData name="林 誠(HAYASHI Makoto)" userId="95a88c0e-e74e-4309-9c97-d6b608e3f262" providerId="ADAL" clId="{A55082D0-25B5-4BE4-A490-4320304A6725}" dt="2025-02-05T01:03:49.127" v="1" actId="47"/>
        <pc:sldMkLst>
          <pc:docMk/>
          <pc:sldMk cId="2462317974" sldId="571"/>
        </pc:sldMkLst>
      </pc:sldChg>
      <pc:sldChg chg="del">
        <pc:chgData name="林 誠(HAYASHI Makoto)" userId="95a88c0e-e74e-4309-9c97-d6b608e3f262" providerId="ADAL" clId="{A55082D0-25B5-4BE4-A490-4320304A6725}" dt="2025-02-05T01:03:49.127" v="1" actId="47"/>
        <pc:sldMkLst>
          <pc:docMk/>
          <pc:sldMk cId="436410740" sldId="572"/>
        </pc:sldMkLst>
      </pc:sldChg>
      <pc:sldChg chg="del">
        <pc:chgData name="林 誠(HAYASHI Makoto)" userId="95a88c0e-e74e-4309-9c97-d6b608e3f262" providerId="ADAL" clId="{A55082D0-25B5-4BE4-A490-4320304A6725}" dt="2025-02-05T01:03:49.127" v="1" actId="47"/>
        <pc:sldMkLst>
          <pc:docMk/>
          <pc:sldMk cId="2990285316" sldId="573"/>
        </pc:sldMkLst>
      </pc:sldChg>
      <pc:sldChg chg="del">
        <pc:chgData name="林 誠(HAYASHI Makoto)" userId="95a88c0e-e74e-4309-9c97-d6b608e3f262" providerId="ADAL" clId="{A55082D0-25B5-4BE4-A490-4320304A6725}" dt="2025-02-05T01:03:49.127" v="1" actId="47"/>
        <pc:sldMkLst>
          <pc:docMk/>
          <pc:sldMk cId="1644570803" sldId="576"/>
        </pc:sldMkLst>
      </pc:sldChg>
      <pc:sldChg chg="del">
        <pc:chgData name="林 誠(HAYASHI Makoto)" userId="95a88c0e-e74e-4309-9c97-d6b608e3f262" providerId="ADAL" clId="{A55082D0-25B5-4BE4-A490-4320304A6725}" dt="2025-02-05T01:03:49.127" v="1" actId="47"/>
        <pc:sldMkLst>
          <pc:docMk/>
          <pc:sldMk cId="3750438938" sldId="577"/>
        </pc:sldMkLst>
      </pc:sldChg>
      <pc:sldChg chg="del">
        <pc:chgData name="林 誠(HAYASHI Makoto)" userId="95a88c0e-e74e-4309-9c97-d6b608e3f262" providerId="ADAL" clId="{A55082D0-25B5-4BE4-A490-4320304A6725}" dt="2025-02-05T01:03:49.127" v="1" actId="47"/>
        <pc:sldMkLst>
          <pc:docMk/>
          <pc:sldMk cId="2623137834" sldId="579"/>
        </pc:sldMkLst>
      </pc:sldChg>
      <pc:sldChg chg="del">
        <pc:chgData name="林 誠(HAYASHI Makoto)" userId="95a88c0e-e74e-4309-9c97-d6b608e3f262" providerId="ADAL" clId="{A55082D0-25B5-4BE4-A490-4320304A6725}" dt="2025-02-05T01:03:49.127" v="1" actId="47"/>
        <pc:sldMkLst>
          <pc:docMk/>
          <pc:sldMk cId="623603552" sldId="580"/>
        </pc:sldMkLst>
      </pc:sldChg>
      <pc:sldChg chg="del">
        <pc:chgData name="林 誠(HAYASHI Makoto)" userId="95a88c0e-e74e-4309-9c97-d6b608e3f262" providerId="ADAL" clId="{A55082D0-25B5-4BE4-A490-4320304A6725}" dt="2025-02-05T01:03:49.127" v="1" actId="47"/>
        <pc:sldMkLst>
          <pc:docMk/>
          <pc:sldMk cId="3925924042" sldId="581"/>
        </pc:sldMkLst>
      </pc:sldChg>
      <pc:sldChg chg="del">
        <pc:chgData name="林 誠(HAYASHI Makoto)" userId="95a88c0e-e74e-4309-9c97-d6b608e3f262" providerId="ADAL" clId="{A55082D0-25B5-4BE4-A490-4320304A6725}" dt="2025-02-05T01:03:49.127" v="1" actId="47"/>
        <pc:sldMkLst>
          <pc:docMk/>
          <pc:sldMk cId="234195794" sldId="584"/>
        </pc:sldMkLst>
      </pc:sldChg>
      <pc:sldChg chg="del">
        <pc:chgData name="林 誠(HAYASHI Makoto)" userId="95a88c0e-e74e-4309-9c97-d6b608e3f262" providerId="ADAL" clId="{A55082D0-25B5-4BE4-A490-4320304A6725}" dt="2025-01-21T03:15:49.070" v="0" actId="47"/>
        <pc:sldMkLst>
          <pc:docMk/>
          <pc:sldMk cId="4008326432" sldId="642"/>
        </pc:sldMkLst>
      </pc:sldChg>
      <pc:sldChg chg="del">
        <pc:chgData name="林 誠(HAYASHI Makoto)" userId="95a88c0e-e74e-4309-9c97-d6b608e3f262" providerId="ADAL" clId="{A55082D0-25B5-4BE4-A490-4320304A6725}" dt="2025-01-21T03:15:49.070" v="0" actId="47"/>
        <pc:sldMkLst>
          <pc:docMk/>
          <pc:sldMk cId="2586630307" sldId="643"/>
        </pc:sldMkLst>
      </pc:sldChg>
      <pc:sldChg chg="del">
        <pc:chgData name="林 誠(HAYASHI Makoto)" userId="95a88c0e-e74e-4309-9c97-d6b608e3f262" providerId="ADAL" clId="{A55082D0-25B5-4BE4-A490-4320304A6725}" dt="2025-02-05T01:03:49.127" v="1" actId="47"/>
        <pc:sldMkLst>
          <pc:docMk/>
          <pc:sldMk cId="4009739031" sldId="644"/>
        </pc:sldMkLst>
      </pc:sldChg>
      <pc:sldChg chg="del">
        <pc:chgData name="林 誠(HAYASHI Makoto)" userId="95a88c0e-e74e-4309-9c97-d6b608e3f262" providerId="ADAL" clId="{A55082D0-25B5-4BE4-A490-4320304A6725}" dt="2025-02-05T01:03:49.127" v="1" actId="47"/>
        <pc:sldMkLst>
          <pc:docMk/>
          <pc:sldMk cId="1543089725" sldId="645"/>
        </pc:sldMkLst>
      </pc:sldChg>
      <pc:sldChg chg="modTransition">
        <pc:chgData name="林 誠(HAYASHI Makoto)" userId="95a88c0e-e74e-4309-9c97-d6b608e3f262" providerId="ADAL" clId="{A55082D0-25B5-4BE4-A490-4320304A6725}" dt="2025-02-07T00:49:26.977" v="4"/>
        <pc:sldMkLst>
          <pc:docMk/>
          <pc:sldMk cId="403796867" sldId="2147379358"/>
        </pc:sldMkLst>
      </pc:sldChg>
      <pc:sldChg chg="addSp modSp mod">
        <pc:chgData name="林 誠(HAYASHI Makoto)" userId="95a88c0e-e74e-4309-9c97-d6b608e3f262" providerId="ADAL" clId="{A55082D0-25B5-4BE4-A490-4320304A6725}" dt="2025-02-07T00:50:59.481" v="78" actId="1076"/>
        <pc:sldMkLst>
          <pc:docMk/>
          <pc:sldMk cId="1197684915" sldId="2147379361"/>
        </pc:sldMkLst>
        <pc:spChg chg="add mod">
          <ac:chgData name="林 誠(HAYASHI Makoto)" userId="95a88c0e-e74e-4309-9c97-d6b608e3f262" providerId="ADAL" clId="{A55082D0-25B5-4BE4-A490-4320304A6725}" dt="2025-02-07T00:50:59.481" v="78" actId="1076"/>
          <ac:spMkLst>
            <pc:docMk/>
            <pc:sldMk cId="1197684915" sldId="2147379361"/>
            <ac:spMk id="2" creationId="{91ED490D-B32E-322F-BF32-DEB02FEFB5F4}"/>
          </ac:spMkLst>
        </pc:spChg>
      </pc:sldChg>
      <pc:sldChg chg="del">
        <pc:chgData name="林 誠(HAYASHI Makoto)" userId="95a88c0e-e74e-4309-9c97-d6b608e3f262" providerId="ADAL" clId="{A55082D0-25B5-4BE4-A490-4320304A6725}" dt="2025-01-21T03:15:49.070" v="0" actId="47"/>
        <pc:sldMkLst>
          <pc:docMk/>
          <pc:sldMk cId="1956273301" sldId="2147379365"/>
        </pc:sldMkLst>
      </pc:sldChg>
      <pc:sldChg chg="del">
        <pc:chgData name="林 誠(HAYASHI Makoto)" userId="95a88c0e-e74e-4309-9c97-d6b608e3f262" providerId="ADAL" clId="{A55082D0-25B5-4BE4-A490-4320304A6725}" dt="2025-01-21T03:15:49.070" v="0" actId="47"/>
        <pc:sldMkLst>
          <pc:docMk/>
          <pc:sldMk cId="3718637712" sldId="2147379366"/>
        </pc:sldMkLst>
      </pc:sldChg>
      <pc:sldChg chg="del">
        <pc:chgData name="林 誠(HAYASHI Makoto)" userId="95a88c0e-e74e-4309-9c97-d6b608e3f262" providerId="ADAL" clId="{A55082D0-25B5-4BE4-A490-4320304A6725}" dt="2025-01-21T03:15:49.070" v="0" actId="47"/>
        <pc:sldMkLst>
          <pc:docMk/>
          <pc:sldMk cId="1168598964" sldId="2147379368"/>
        </pc:sldMkLst>
      </pc:sldChg>
      <pc:sldChg chg="del">
        <pc:chgData name="林 誠(HAYASHI Makoto)" userId="95a88c0e-e74e-4309-9c97-d6b608e3f262" providerId="ADAL" clId="{A55082D0-25B5-4BE4-A490-4320304A6725}" dt="2025-01-21T03:15:49.070" v="0" actId="47"/>
        <pc:sldMkLst>
          <pc:docMk/>
          <pc:sldMk cId="4133260830" sldId="2147379370"/>
        </pc:sldMkLst>
      </pc:sldChg>
      <pc:sldChg chg="del">
        <pc:chgData name="林 誠(HAYASHI Makoto)" userId="95a88c0e-e74e-4309-9c97-d6b608e3f262" providerId="ADAL" clId="{A55082D0-25B5-4BE4-A490-4320304A6725}" dt="2025-01-21T03:15:49.070" v="0" actId="47"/>
        <pc:sldMkLst>
          <pc:docMk/>
          <pc:sldMk cId="2774150407" sldId="2147379371"/>
        </pc:sldMkLst>
      </pc:sldChg>
      <pc:sldChg chg="del">
        <pc:chgData name="林 誠(HAYASHI Makoto)" userId="95a88c0e-e74e-4309-9c97-d6b608e3f262" providerId="ADAL" clId="{A55082D0-25B5-4BE4-A490-4320304A6725}" dt="2025-01-21T03:15:49.070" v="0" actId="47"/>
        <pc:sldMkLst>
          <pc:docMk/>
          <pc:sldMk cId="825977942" sldId="2147379374"/>
        </pc:sldMkLst>
      </pc:sldChg>
      <pc:sldChg chg="del">
        <pc:chgData name="林 誠(HAYASHI Makoto)" userId="95a88c0e-e74e-4309-9c97-d6b608e3f262" providerId="ADAL" clId="{A55082D0-25B5-4BE4-A490-4320304A6725}" dt="2025-01-21T03:15:49.070" v="0" actId="47"/>
        <pc:sldMkLst>
          <pc:docMk/>
          <pc:sldMk cId="1300297208" sldId="2147379375"/>
        </pc:sldMkLst>
      </pc:sldChg>
      <pc:sldChg chg="del">
        <pc:chgData name="林 誠(HAYASHI Makoto)" userId="95a88c0e-e74e-4309-9c97-d6b608e3f262" providerId="ADAL" clId="{A55082D0-25B5-4BE4-A490-4320304A6725}" dt="2025-01-21T03:15:49.070" v="0" actId="47"/>
        <pc:sldMkLst>
          <pc:docMk/>
          <pc:sldMk cId="1458359496" sldId="2147379376"/>
        </pc:sldMkLst>
      </pc:sldChg>
      <pc:sldChg chg="modTransition">
        <pc:chgData name="林 誠(HAYASHI Makoto)" userId="95a88c0e-e74e-4309-9c97-d6b608e3f262" providerId="ADAL" clId="{A55082D0-25B5-4BE4-A490-4320304A6725}" dt="2025-02-07T00:33:03.023" v="3"/>
        <pc:sldMkLst>
          <pc:docMk/>
          <pc:sldMk cId="4040013317" sldId="2147477029"/>
        </pc:sldMkLst>
      </pc:sldChg>
      <pc:sldChg chg="modTransition">
        <pc:chgData name="林 誠(HAYASHI Makoto)" userId="95a88c0e-e74e-4309-9c97-d6b608e3f262" providerId="ADAL" clId="{A55082D0-25B5-4BE4-A490-4320304A6725}" dt="2025-02-07T00:33:03.023" v="3"/>
        <pc:sldMkLst>
          <pc:docMk/>
          <pc:sldMk cId="1021028085" sldId="2147477042"/>
        </pc:sldMkLst>
      </pc:sldChg>
      <pc:sldChg chg="modTransition">
        <pc:chgData name="林 誠(HAYASHI Makoto)" userId="95a88c0e-e74e-4309-9c97-d6b608e3f262" providerId="ADAL" clId="{A55082D0-25B5-4BE4-A490-4320304A6725}" dt="2025-02-07T00:33:03.023" v="3"/>
        <pc:sldMkLst>
          <pc:docMk/>
          <pc:sldMk cId="1493409658" sldId="2147477046"/>
        </pc:sldMkLst>
      </pc:sldChg>
      <pc:sldChg chg="modTransition">
        <pc:chgData name="林 誠(HAYASHI Makoto)" userId="95a88c0e-e74e-4309-9c97-d6b608e3f262" providerId="ADAL" clId="{A55082D0-25B5-4BE4-A490-4320304A6725}" dt="2025-02-07T00:33:03.023" v="3"/>
        <pc:sldMkLst>
          <pc:docMk/>
          <pc:sldMk cId="1985542856" sldId="2147477066"/>
        </pc:sldMkLst>
      </pc:sldChg>
      <pc:sldChg chg="modTransition">
        <pc:chgData name="林 誠(HAYASHI Makoto)" userId="95a88c0e-e74e-4309-9c97-d6b608e3f262" providerId="ADAL" clId="{A55082D0-25B5-4BE4-A490-4320304A6725}" dt="2025-02-07T00:33:03.023" v="3"/>
        <pc:sldMkLst>
          <pc:docMk/>
          <pc:sldMk cId="2019672797" sldId="2147477067"/>
        </pc:sldMkLst>
      </pc:sldChg>
      <pc:sldChg chg="modTransition">
        <pc:chgData name="林 誠(HAYASHI Makoto)" userId="95a88c0e-e74e-4309-9c97-d6b608e3f262" providerId="ADAL" clId="{A55082D0-25B5-4BE4-A490-4320304A6725}" dt="2025-02-07T00:33:03.023" v="3"/>
        <pc:sldMkLst>
          <pc:docMk/>
          <pc:sldMk cId="2605918862" sldId="2147477070"/>
        </pc:sldMkLst>
      </pc:sldChg>
      <pc:sldChg chg="modTransition">
        <pc:chgData name="林 誠(HAYASHI Makoto)" userId="95a88c0e-e74e-4309-9c97-d6b608e3f262" providerId="ADAL" clId="{A55082D0-25B5-4BE4-A490-4320304A6725}" dt="2025-02-07T00:33:03.023" v="3"/>
        <pc:sldMkLst>
          <pc:docMk/>
          <pc:sldMk cId="3241966011" sldId="2147477075"/>
        </pc:sldMkLst>
      </pc:sldChg>
      <pc:sldChg chg="modTransition">
        <pc:chgData name="林 誠(HAYASHI Makoto)" userId="95a88c0e-e74e-4309-9c97-d6b608e3f262" providerId="ADAL" clId="{A55082D0-25B5-4BE4-A490-4320304A6725}" dt="2025-02-07T00:33:03.023" v="3"/>
        <pc:sldMkLst>
          <pc:docMk/>
          <pc:sldMk cId="556582855" sldId="2147477076"/>
        </pc:sldMkLst>
      </pc:sldChg>
      <pc:sldChg chg="modTransition">
        <pc:chgData name="林 誠(HAYASHI Makoto)" userId="95a88c0e-e74e-4309-9c97-d6b608e3f262" providerId="ADAL" clId="{A55082D0-25B5-4BE4-A490-4320304A6725}" dt="2025-02-07T00:33:03.023" v="3"/>
        <pc:sldMkLst>
          <pc:docMk/>
          <pc:sldMk cId="1835453504" sldId="2147481095"/>
        </pc:sldMkLst>
      </pc:sldChg>
      <pc:sldChg chg="modTransition">
        <pc:chgData name="林 誠(HAYASHI Makoto)" userId="95a88c0e-e74e-4309-9c97-d6b608e3f262" providerId="ADAL" clId="{A55082D0-25B5-4BE4-A490-4320304A6725}" dt="2025-02-07T00:33:03.023" v="3"/>
        <pc:sldMkLst>
          <pc:docMk/>
          <pc:sldMk cId="3597440354" sldId="2147481106"/>
        </pc:sldMkLst>
      </pc:sldChg>
      <pc:sldChg chg="modTransition">
        <pc:chgData name="林 誠(HAYASHI Makoto)" userId="95a88c0e-e74e-4309-9c97-d6b608e3f262" providerId="ADAL" clId="{A55082D0-25B5-4BE4-A490-4320304A6725}" dt="2025-02-07T00:33:03.023" v="3"/>
        <pc:sldMkLst>
          <pc:docMk/>
          <pc:sldMk cId="2457989967" sldId="2147481107"/>
        </pc:sldMkLst>
      </pc:sldChg>
      <pc:sldChg chg="modTransition">
        <pc:chgData name="林 誠(HAYASHI Makoto)" userId="95a88c0e-e74e-4309-9c97-d6b608e3f262" providerId="ADAL" clId="{A55082D0-25B5-4BE4-A490-4320304A6725}" dt="2025-02-07T00:33:03.023" v="3"/>
        <pc:sldMkLst>
          <pc:docMk/>
          <pc:sldMk cId="1819117595" sldId="2147481108"/>
        </pc:sldMkLst>
      </pc:sldChg>
      <pc:sldChg chg="modTransition">
        <pc:chgData name="林 誠(HAYASHI Makoto)" userId="95a88c0e-e74e-4309-9c97-d6b608e3f262" providerId="ADAL" clId="{A55082D0-25B5-4BE4-A490-4320304A6725}" dt="2025-02-07T00:33:03.023" v="3"/>
        <pc:sldMkLst>
          <pc:docMk/>
          <pc:sldMk cId="2083605659" sldId="2147481109"/>
        </pc:sldMkLst>
      </pc:sldChg>
      <pc:sldChg chg="modTransition">
        <pc:chgData name="林 誠(HAYASHI Makoto)" userId="95a88c0e-e74e-4309-9c97-d6b608e3f262" providerId="ADAL" clId="{A55082D0-25B5-4BE4-A490-4320304A6725}" dt="2025-02-07T00:33:03.023" v="3"/>
        <pc:sldMkLst>
          <pc:docMk/>
          <pc:sldMk cId="67881493" sldId="2147481110"/>
        </pc:sldMkLst>
      </pc:sldChg>
      <pc:sldChg chg="modTransition">
        <pc:chgData name="林 誠(HAYASHI Makoto)" userId="95a88c0e-e74e-4309-9c97-d6b608e3f262" providerId="ADAL" clId="{A55082D0-25B5-4BE4-A490-4320304A6725}" dt="2025-02-07T00:33:03.023" v="3"/>
        <pc:sldMkLst>
          <pc:docMk/>
          <pc:sldMk cId="3849493114" sldId="2147481111"/>
        </pc:sldMkLst>
      </pc:sldChg>
      <pc:sldChg chg="modTransition">
        <pc:chgData name="林 誠(HAYASHI Makoto)" userId="95a88c0e-e74e-4309-9c97-d6b608e3f262" providerId="ADAL" clId="{A55082D0-25B5-4BE4-A490-4320304A6725}" dt="2025-02-07T00:49:38.424" v="6"/>
        <pc:sldMkLst>
          <pc:docMk/>
          <pc:sldMk cId="106876346" sldId="2147481112"/>
        </pc:sldMkLst>
      </pc:sldChg>
      <pc:sldChg chg="modTransition">
        <pc:chgData name="林 誠(HAYASHI Makoto)" userId="95a88c0e-e74e-4309-9c97-d6b608e3f262" providerId="ADAL" clId="{A55082D0-25B5-4BE4-A490-4320304A6725}" dt="2025-02-07T00:33:03.023" v="3"/>
        <pc:sldMkLst>
          <pc:docMk/>
          <pc:sldMk cId="605313648" sldId="2147481113"/>
        </pc:sldMkLst>
      </pc:sldChg>
      <pc:sldChg chg="modTransition">
        <pc:chgData name="林 誠(HAYASHI Makoto)" userId="95a88c0e-e74e-4309-9c97-d6b608e3f262" providerId="ADAL" clId="{A55082D0-25B5-4BE4-A490-4320304A6725}" dt="2025-02-07T00:33:03.023" v="3"/>
        <pc:sldMkLst>
          <pc:docMk/>
          <pc:sldMk cId="2090955743" sldId="2147481115"/>
        </pc:sldMkLst>
      </pc:sldChg>
      <pc:sldChg chg="del">
        <pc:chgData name="林 誠(HAYASHI Makoto)" userId="95a88c0e-e74e-4309-9c97-d6b608e3f262" providerId="ADAL" clId="{A55082D0-25B5-4BE4-A490-4320304A6725}" dt="2025-02-07T00:04:13.281" v="2" actId="47"/>
        <pc:sldMkLst>
          <pc:docMk/>
          <pc:sldMk cId="1978747257" sldId="2147481116"/>
        </pc:sldMkLst>
      </pc:sldChg>
      <pc:sldChg chg="del">
        <pc:chgData name="林 誠(HAYASHI Makoto)" userId="95a88c0e-e74e-4309-9c97-d6b608e3f262" providerId="ADAL" clId="{A55082D0-25B5-4BE4-A490-4320304A6725}" dt="2025-02-07T00:04:13.281" v="2" actId="47"/>
        <pc:sldMkLst>
          <pc:docMk/>
          <pc:sldMk cId="1080995514" sldId="2147481117"/>
        </pc:sldMkLst>
      </pc:sldChg>
      <pc:sldChg chg="del">
        <pc:chgData name="林 誠(HAYASHI Makoto)" userId="95a88c0e-e74e-4309-9c97-d6b608e3f262" providerId="ADAL" clId="{A55082D0-25B5-4BE4-A490-4320304A6725}" dt="2025-02-07T00:04:13.281" v="2" actId="47"/>
        <pc:sldMkLst>
          <pc:docMk/>
          <pc:sldMk cId="573762944" sldId="2147481118"/>
        </pc:sldMkLst>
      </pc:sldChg>
      <pc:sldChg chg="del">
        <pc:chgData name="林 誠(HAYASHI Makoto)" userId="95a88c0e-e74e-4309-9c97-d6b608e3f262" providerId="ADAL" clId="{A55082D0-25B5-4BE4-A490-4320304A6725}" dt="2025-02-07T00:04:13.281" v="2" actId="47"/>
        <pc:sldMkLst>
          <pc:docMk/>
          <pc:sldMk cId="2953097068" sldId="2147481119"/>
        </pc:sldMkLst>
      </pc:sldChg>
      <pc:sldChg chg="del">
        <pc:chgData name="林 誠(HAYASHI Makoto)" userId="95a88c0e-e74e-4309-9c97-d6b608e3f262" providerId="ADAL" clId="{A55082D0-25B5-4BE4-A490-4320304A6725}" dt="2025-02-07T00:04:13.281" v="2" actId="47"/>
        <pc:sldMkLst>
          <pc:docMk/>
          <pc:sldMk cId="864568048" sldId="2147481120"/>
        </pc:sldMkLst>
      </pc:sldChg>
      <pc:sldChg chg="del">
        <pc:chgData name="林 誠(HAYASHI Makoto)" userId="95a88c0e-e74e-4309-9c97-d6b608e3f262" providerId="ADAL" clId="{A55082D0-25B5-4BE4-A490-4320304A6725}" dt="2025-02-07T00:04:13.281" v="2" actId="47"/>
        <pc:sldMkLst>
          <pc:docMk/>
          <pc:sldMk cId="580688117" sldId="2147481121"/>
        </pc:sldMkLst>
      </pc:sldChg>
      <pc:sldChg chg="del">
        <pc:chgData name="林 誠(HAYASHI Makoto)" userId="95a88c0e-e74e-4309-9c97-d6b608e3f262" providerId="ADAL" clId="{A55082D0-25B5-4BE4-A490-4320304A6725}" dt="2025-02-07T00:04:13.281" v="2" actId="47"/>
        <pc:sldMkLst>
          <pc:docMk/>
          <pc:sldMk cId="3377505758" sldId="2147481122"/>
        </pc:sldMkLst>
      </pc:sldChg>
      <pc:sldChg chg="del">
        <pc:chgData name="林 誠(HAYASHI Makoto)" userId="95a88c0e-e74e-4309-9c97-d6b608e3f262" providerId="ADAL" clId="{A55082D0-25B5-4BE4-A490-4320304A6725}" dt="2025-02-07T00:04:13.281" v="2" actId="47"/>
        <pc:sldMkLst>
          <pc:docMk/>
          <pc:sldMk cId="3384786766" sldId="2147481123"/>
        </pc:sldMkLst>
      </pc:sldChg>
      <pc:sldChg chg="del">
        <pc:chgData name="林 誠(HAYASHI Makoto)" userId="95a88c0e-e74e-4309-9c97-d6b608e3f262" providerId="ADAL" clId="{A55082D0-25B5-4BE4-A490-4320304A6725}" dt="2025-02-07T00:04:13.281" v="2" actId="47"/>
        <pc:sldMkLst>
          <pc:docMk/>
          <pc:sldMk cId="259384734" sldId="2147481124"/>
        </pc:sldMkLst>
      </pc:sldChg>
      <pc:sldChg chg="del">
        <pc:chgData name="林 誠(HAYASHI Makoto)" userId="95a88c0e-e74e-4309-9c97-d6b608e3f262" providerId="ADAL" clId="{A55082D0-25B5-4BE4-A490-4320304A6725}" dt="2025-02-07T00:04:13.281" v="2" actId="47"/>
        <pc:sldMkLst>
          <pc:docMk/>
          <pc:sldMk cId="2865974178" sldId="2147481125"/>
        </pc:sldMkLst>
      </pc:sldChg>
      <pc:sldChg chg="del">
        <pc:chgData name="林 誠(HAYASHI Makoto)" userId="95a88c0e-e74e-4309-9c97-d6b608e3f262" providerId="ADAL" clId="{A55082D0-25B5-4BE4-A490-4320304A6725}" dt="2025-02-07T00:04:13.281" v="2" actId="47"/>
        <pc:sldMkLst>
          <pc:docMk/>
          <pc:sldMk cId="4230301711" sldId="2147481126"/>
        </pc:sldMkLst>
      </pc:sldChg>
      <pc:sldChg chg="del">
        <pc:chgData name="林 誠(HAYASHI Makoto)" userId="95a88c0e-e74e-4309-9c97-d6b608e3f262" providerId="ADAL" clId="{A55082D0-25B5-4BE4-A490-4320304A6725}" dt="2025-02-07T00:04:13.281" v="2" actId="47"/>
        <pc:sldMkLst>
          <pc:docMk/>
          <pc:sldMk cId="4085020637" sldId="2147481127"/>
        </pc:sldMkLst>
      </pc:sldChg>
      <pc:sldChg chg="del">
        <pc:chgData name="林 誠(HAYASHI Makoto)" userId="95a88c0e-e74e-4309-9c97-d6b608e3f262" providerId="ADAL" clId="{A55082D0-25B5-4BE4-A490-4320304A6725}" dt="2025-02-07T00:04:13.281" v="2" actId="47"/>
        <pc:sldMkLst>
          <pc:docMk/>
          <pc:sldMk cId="83664384" sldId="2147481128"/>
        </pc:sldMkLst>
      </pc:sldChg>
      <pc:sldChg chg="del">
        <pc:chgData name="林 誠(HAYASHI Makoto)" userId="95a88c0e-e74e-4309-9c97-d6b608e3f262" providerId="ADAL" clId="{A55082D0-25B5-4BE4-A490-4320304A6725}" dt="2025-02-07T00:04:13.281" v="2" actId="47"/>
        <pc:sldMkLst>
          <pc:docMk/>
          <pc:sldMk cId="4114017188" sldId="2147481129"/>
        </pc:sldMkLst>
      </pc:sldChg>
      <pc:sldChg chg="del">
        <pc:chgData name="林 誠(HAYASHI Makoto)" userId="95a88c0e-e74e-4309-9c97-d6b608e3f262" providerId="ADAL" clId="{A55082D0-25B5-4BE4-A490-4320304A6725}" dt="2025-02-07T00:04:13.281" v="2" actId="47"/>
        <pc:sldMkLst>
          <pc:docMk/>
          <pc:sldMk cId="1134622174" sldId="2147481130"/>
        </pc:sldMkLst>
      </pc:sldChg>
      <pc:sldChg chg="del">
        <pc:chgData name="林 誠(HAYASHI Makoto)" userId="95a88c0e-e74e-4309-9c97-d6b608e3f262" providerId="ADAL" clId="{A55082D0-25B5-4BE4-A490-4320304A6725}" dt="2025-02-07T00:04:13.281" v="2" actId="47"/>
        <pc:sldMkLst>
          <pc:docMk/>
          <pc:sldMk cId="407638822" sldId="2147481131"/>
        </pc:sldMkLst>
      </pc:sldChg>
      <pc:sldChg chg="del">
        <pc:chgData name="林 誠(HAYASHI Makoto)" userId="95a88c0e-e74e-4309-9c97-d6b608e3f262" providerId="ADAL" clId="{A55082D0-25B5-4BE4-A490-4320304A6725}" dt="2025-02-07T00:04:13.281" v="2" actId="47"/>
        <pc:sldMkLst>
          <pc:docMk/>
          <pc:sldMk cId="3503038896" sldId="2147481132"/>
        </pc:sldMkLst>
      </pc:sldChg>
      <pc:sldChg chg="del">
        <pc:chgData name="林 誠(HAYASHI Makoto)" userId="95a88c0e-e74e-4309-9c97-d6b608e3f262" providerId="ADAL" clId="{A55082D0-25B5-4BE4-A490-4320304A6725}" dt="2025-02-07T00:04:13.281" v="2" actId="47"/>
        <pc:sldMkLst>
          <pc:docMk/>
          <pc:sldMk cId="391140821" sldId="2147481133"/>
        </pc:sldMkLst>
      </pc:sldChg>
      <pc:sldChg chg="del">
        <pc:chgData name="林 誠(HAYASHI Makoto)" userId="95a88c0e-e74e-4309-9c97-d6b608e3f262" providerId="ADAL" clId="{A55082D0-25B5-4BE4-A490-4320304A6725}" dt="2025-02-07T00:04:13.281" v="2" actId="47"/>
        <pc:sldMkLst>
          <pc:docMk/>
          <pc:sldMk cId="1145422645" sldId="2147481134"/>
        </pc:sldMkLst>
      </pc:sldChg>
      <pc:sldChg chg="del">
        <pc:chgData name="林 誠(HAYASHI Makoto)" userId="95a88c0e-e74e-4309-9c97-d6b608e3f262" providerId="ADAL" clId="{A55082D0-25B5-4BE4-A490-4320304A6725}" dt="2025-02-07T00:04:13.281" v="2" actId="47"/>
        <pc:sldMkLst>
          <pc:docMk/>
          <pc:sldMk cId="1370906950" sldId="2147481135"/>
        </pc:sldMkLst>
      </pc:sldChg>
      <pc:sldChg chg="del">
        <pc:chgData name="林 誠(HAYASHI Makoto)" userId="95a88c0e-e74e-4309-9c97-d6b608e3f262" providerId="ADAL" clId="{A55082D0-25B5-4BE4-A490-4320304A6725}" dt="2025-02-07T00:04:13.281" v="2" actId="47"/>
        <pc:sldMkLst>
          <pc:docMk/>
          <pc:sldMk cId="3153260845" sldId="2147481136"/>
        </pc:sldMkLst>
      </pc:sldChg>
      <pc:sldChg chg="del">
        <pc:chgData name="林 誠(HAYASHI Makoto)" userId="95a88c0e-e74e-4309-9c97-d6b608e3f262" providerId="ADAL" clId="{A55082D0-25B5-4BE4-A490-4320304A6725}" dt="2025-02-07T00:04:13.281" v="2" actId="47"/>
        <pc:sldMkLst>
          <pc:docMk/>
          <pc:sldMk cId="3502249669" sldId="2147481137"/>
        </pc:sldMkLst>
      </pc:sldChg>
      <pc:sldChg chg="del">
        <pc:chgData name="林 誠(HAYASHI Makoto)" userId="95a88c0e-e74e-4309-9c97-d6b608e3f262" providerId="ADAL" clId="{A55082D0-25B5-4BE4-A490-4320304A6725}" dt="2025-02-07T00:04:13.281" v="2" actId="47"/>
        <pc:sldMkLst>
          <pc:docMk/>
          <pc:sldMk cId="2050433397" sldId="2147481138"/>
        </pc:sldMkLst>
      </pc:sldChg>
    </pc:docChg>
  </pc:docChgLst>
  <pc:docChgLst>
    <pc:chgData name="金井 大輔(KANAI Daisuke)" userId="S::daisuke.kanai.b7z@cao.go.jp::382a8e42-bd56-4cba-a8de-2dac091830e6" providerId="AD" clId="Web-{BB63F1F4-5B47-A03F-0099-CC8FB4DA326D}"/>
    <pc:docChg chg="delSld modSld modSection">
      <pc:chgData name="金井 大輔(KANAI Daisuke)" userId="S::daisuke.kanai.b7z@cao.go.jp::382a8e42-bd56-4cba-a8de-2dac091830e6" providerId="AD" clId="Web-{BB63F1F4-5B47-A03F-0099-CC8FB4DA326D}" dt="2025-01-27T02:11:43.074" v="4"/>
      <pc:docMkLst>
        <pc:docMk/>
      </pc:docMkLst>
      <pc:sldChg chg="delSp">
        <pc:chgData name="金井 大輔(KANAI Daisuke)" userId="S::daisuke.kanai.b7z@cao.go.jp::382a8e42-bd56-4cba-a8de-2dac091830e6" providerId="AD" clId="Web-{BB63F1F4-5B47-A03F-0099-CC8FB4DA326D}" dt="2025-01-27T02:11:43.074" v="4"/>
        <pc:sldMkLst>
          <pc:docMk/>
          <pc:sldMk cId="2595368411" sldId="2147379377"/>
        </pc:sldMkLst>
        <pc:spChg chg="del">
          <ac:chgData name="金井 大輔(KANAI Daisuke)" userId="S::daisuke.kanai.b7z@cao.go.jp::382a8e42-bd56-4cba-a8de-2dac091830e6" providerId="AD" clId="Web-{BB63F1F4-5B47-A03F-0099-CC8FB4DA326D}" dt="2025-01-27T02:11:43.074" v="4"/>
          <ac:spMkLst>
            <pc:docMk/>
            <pc:sldMk cId="2595368411" sldId="2147379377"/>
            <ac:spMk id="4" creationId="{E1344181-C40B-F24A-CAF2-5BCBA521C139}"/>
          </ac:spMkLst>
        </pc:spChg>
      </pc:sldChg>
      <pc:sldChg chg="del">
        <pc:chgData name="金井 大輔(KANAI Daisuke)" userId="S::daisuke.kanai.b7z@cao.go.jp::382a8e42-bd56-4cba-a8de-2dac091830e6" providerId="AD" clId="Web-{BB63F1F4-5B47-A03F-0099-CC8FB4DA326D}" dt="2025-01-27T02:11:38.074" v="3"/>
        <pc:sldMkLst>
          <pc:docMk/>
          <pc:sldMk cId="3078244533" sldId="2147379378"/>
        </pc:sldMkLst>
      </pc:sldChg>
      <pc:sldChg chg="del">
        <pc:chgData name="金井 大輔(KANAI Daisuke)" userId="S::daisuke.kanai.b7z@cao.go.jp::382a8e42-bd56-4cba-a8de-2dac091830e6" providerId="AD" clId="Web-{BB63F1F4-5B47-A03F-0099-CC8FB4DA326D}" dt="2025-01-27T02:11:34.777" v="2"/>
        <pc:sldMkLst>
          <pc:docMk/>
          <pc:sldMk cId="3928178243" sldId="2147379380"/>
        </pc:sldMkLst>
      </pc:sldChg>
      <pc:sldChg chg="del">
        <pc:chgData name="金井 大輔(KANAI Daisuke)" userId="S::daisuke.kanai.b7z@cao.go.jp::382a8e42-bd56-4cba-a8de-2dac091830e6" providerId="AD" clId="Web-{BB63F1F4-5B47-A03F-0099-CC8FB4DA326D}" dt="2025-01-27T02:11:31.699" v="1"/>
        <pc:sldMkLst>
          <pc:docMk/>
          <pc:sldMk cId="3292249956" sldId="2147379382"/>
        </pc:sldMkLst>
      </pc:sldChg>
      <pc:sldChg chg="del">
        <pc:chgData name="金井 大輔(KANAI Daisuke)" userId="S::daisuke.kanai.b7z@cao.go.jp::382a8e42-bd56-4cba-a8de-2dac091830e6" providerId="AD" clId="Web-{BB63F1F4-5B47-A03F-0099-CC8FB4DA326D}" dt="2025-01-27T02:11:30.339" v="0"/>
        <pc:sldMkLst>
          <pc:docMk/>
          <pc:sldMk cId="1655818699" sldId="2147379384"/>
        </pc:sldMkLst>
      </pc:sldChg>
    </pc:docChg>
  </pc:docChgLst>
  <pc:docChgLst>
    <pc:chgData name="林 誠(HAYASHI Makoto)" userId="95a88c0e-e74e-4309-9c97-d6b608e3f262" providerId="ADAL" clId="{D104EE30-56BB-4DF1-9E69-6AA583B6AB6C}"/>
    <pc:docChg chg="custSel delSld modSld delSection modSection">
      <pc:chgData name="林 誠(HAYASHI Makoto)" userId="95a88c0e-e74e-4309-9c97-d6b608e3f262" providerId="ADAL" clId="{D104EE30-56BB-4DF1-9E69-6AA583B6AB6C}" dt="2025-02-07T03:55:08.025" v="40" actId="20577"/>
      <pc:docMkLst>
        <pc:docMk/>
      </pc:docMkLst>
      <pc:sldChg chg="modTransition">
        <pc:chgData name="林 誠(HAYASHI Makoto)" userId="95a88c0e-e74e-4309-9c97-d6b608e3f262" providerId="ADAL" clId="{D104EE30-56BB-4DF1-9E69-6AA583B6AB6C}" dt="2025-02-07T03:50:52.832" v="3"/>
        <pc:sldMkLst>
          <pc:docMk/>
          <pc:sldMk cId="829938341" sldId="300"/>
        </pc:sldMkLst>
      </pc:sldChg>
      <pc:sldChg chg="modSp mod">
        <pc:chgData name="林 誠(HAYASHI Makoto)" userId="95a88c0e-e74e-4309-9c97-d6b608e3f262" providerId="ADAL" clId="{D104EE30-56BB-4DF1-9E69-6AA583B6AB6C}" dt="2025-02-07T03:54:07.612" v="24" actId="20577"/>
        <pc:sldMkLst>
          <pc:docMk/>
          <pc:sldMk cId="2737191422" sldId="504"/>
        </pc:sldMkLst>
        <pc:spChg chg="mod">
          <ac:chgData name="林 誠(HAYASHI Makoto)" userId="95a88c0e-e74e-4309-9c97-d6b608e3f262" providerId="ADAL" clId="{D104EE30-56BB-4DF1-9E69-6AA583B6AB6C}" dt="2025-02-07T03:54:07.612" v="24" actId="20577"/>
          <ac:spMkLst>
            <pc:docMk/>
            <pc:sldMk cId="2737191422" sldId="504"/>
            <ac:spMk id="19" creationId="{5893569B-876A-4AE9-8D0B-6776E223F4FD}"/>
          </ac:spMkLst>
        </pc:spChg>
      </pc:sldChg>
      <pc:sldChg chg="modSp mod">
        <pc:chgData name="林 誠(HAYASHI Makoto)" userId="95a88c0e-e74e-4309-9c97-d6b608e3f262" providerId="ADAL" clId="{D104EE30-56BB-4DF1-9E69-6AA583B6AB6C}" dt="2025-02-07T03:53:19.176" v="10" actId="20577"/>
        <pc:sldMkLst>
          <pc:docMk/>
          <pc:sldMk cId="1451366755" sldId="560"/>
        </pc:sldMkLst>
        <pc:spChg chg="mod">
          <ac:chgData name="林 誠(HAYASHI Makoto)" userId="95a88c0e-e74e-4309-9c97-d6b608e3f262" providerId="ADAL" clId="{D104EE30-56BB-4DF1-9E69-6AA583B6AB6C}" dt="2025-02-07T03:53:19.176" v="10" actId="20577"/>
          <ac:spMkLst>
            <pc:docMk/>
            <pc:sldMk cId="1451366755" sldId="560"/>
            <ac:spMk id="14" creationId="{0C8F7798-B76C-4C96-8BCB-4C45BD7B33C2}"/>
          </ac:spMkLst>
        </pc:spChg>
      </pc:sldChg>
      <pc:sldChg chg="modSp mod">
        <pc:chgData name="林 誠(HAYASHI Makoto)" userId="95a88c0e-e74e-4309-9c97-d6b608e3f262" providerId="ADAL" clId="{D104EE30-56BB-4DF1-9E69-6AA583B6AB6C}" dt="2025-02-07T03:53:45.833" v="18" actId="20577"/>
        <pc:sldMkLst>
          <pc:docMk/>
          <pc:sldMk cId="2905086862" sldId="568"/>
        </pc:sldMkLst>
        <pc:spChg chg="mod">
          <ac:chgData name="林 誠(HAYASHI Makoto)" userId="95a88c0e-e74e-4309-9c97-d6b608e3f262" providerId="ADAL" clId="{D104EE30-56BB-4DF1-9E69-6AA583B6AB6C}" dt="2025-02-07T03:53:45.833" v="18" actId="20577"/>
          <ac:spMkLst>
            <pc:docMk/>
            <pc:sldMk cId="2905086862" sldId="568"/>
            <ac:spMk id="12" creationId="{60F806F0-99EC-4DFA-AB24-AFB004B3DF1A}"/>
          </ac:spMkLst>
        </pc:spChg>
      </pc:sldChg>
      <pc:sldChg chg="modSp mod">
        <pc:chgData name="林 誠(HAYASHI Makoto)" userId="95a88c0e-e74e-4309-9c97-d6b608e3f262" providerId="ADAL" clId="{D104EE30-56BB-4DF1-9E69-6AA583B6AB6C}" dt="2025-02-07T03:53:52.984" v="20" actId="20577"/>
        <pc:sldMkLst>
          <pc:docMk/>
          <pc:sldMk cId="3969929307" sldId="569"/>
        </pc:sldMkLst>
        <pc:spChg chg="mod">
          <ac:chgData name="林 誠(HAYASHI Makoto)" userId="95a88c0e-e74e-4309-9c97-d6b608e3f262" providerId="ADAL" clId="{D104EE30-56BB-4DF1-9E69-6AA583B6AB6C}" dt="2025-02-07T03:53:52.984" v="20" actId="20577"/>
          <ac:spMkLst>
            <pc:docMk/>
            <pc:sldMk cId="3969929307" sldId="569"/>
            <ac:spMk id="12" creationId="{60376FE5-45FC-430A-B8B1-3B548B43E535}"/>
          </ac:spMkLst>
        </pc:spChg>
      </pc:sldChg>
      <pc:sldChg chg="modSp mod">
        <pc:chgData name="林 誠(HAYASHI Makoto)" userId="95a88c0e-e74e-4309-9c97-d6b608e3f262" providerId="ADAL" clId="{D104EE30-56BB-4DF1-9E69-6AA583B6AB6C}" dt="2025-02-07T03:53:58.668" v="22" actId="20577"/>
        <pc:sldMkLst>
          <pc:docMk/>
          <pc:sldMk cId="1138926428" sldId="570"/>
        </pc:sldMkLst>
        <pc:spChg chg="mod">
          <ac:chgData name="林 誠(HAYASHI Makoto)" userId="95a88c0e-e74e-4309-9c97-d6b608e3f262" providerId="ADAL" clId="{D104EE30-56BB-4DF1-9E69-6AA583B6AB6C}" dt="2025-02-07T03:53:58.668" v="22" actId="20577"/>
          <ac:spMkLst>
            <pc:docMk/>
            <pc:sldMk cId="1138926428" sldId="570"/>
            <ac:spMk id="11" creationId="{9B839645-7440-4CB8-9265-2F469D3322A1}"/>
          </ac:spMkLst>
        </pc:spChg>
      </pc:sldChg>
      <pc:sldChg chg="modSp mod">
        <pc:chgData name="林 誠(HAYASHI Makoto)" userId="95a88c0e-e74e-4309-9c97-d6b608e3f262" providerId="ADAL" clId="{D104EE30-56BB-4DF1-9E69-6AA583B6AB6C}" dt="2025-02-07T03:54:16.262" v="26" actId="20577"/>
        <pc:sldMkLst>
          <pc:docMk/>
          <pc:sldMk cId="2462317974" sldId="571"/>
        </pc:sldMkLst>
        <pc:spChg chg="mod">
          <ac:chgData name="林 誠(HAYASHI Makoto)" userId="95a88c0e-e74e-4309-9c97-d6b608e3f262" providerId="ADAL" clId="{D104EE30-56BB-4DF1-9E69-6AA583B6AB6C}" dt="2025-02-07T03:54:16.262" v="26" actId="20577"/>
          <ac:spMkLst>
            <pc:docMk/>
            <pc:sldMk cId="2462317974" sldId="571"/>
            <ac:spMk id="27" creationId="{D0F14F95-91BB-4CB5-80F3-D60E15289762}"/>
          </ac:spMkLst>
        </pc:spChg>
      </pc:sldChg>
      <pc:sldChg chg="modSp mod">
        <pc:chgData name="林 誠(HAYASHI Makoto)" userId="95a88c0e-e74e-4309-9c97-d6b608e3f262" providerId="ADAL" clId="{D104EE30-56BB-4DF1-9E69-6AA583B6AB6C}" dt="2025-02-07T03:54:28.124" v="30" actId="20577"/>
        <pc:sldMkLst>
          <pc:docMk/>
          <pc:sldMk cId="436410740" sldId="572"/>
        </pc:sldMkLst>
        <pc:spChg chg="mod">
          <ac:chgData name="林 誠(HAYASHI Makoto)" userId="95a88c0e-e74e-4309-9c97-d6b608e3f262" providerId="ADAL" clId="{D104EE30-56BB-4DF1-9E69-6AA583B6AB6C}" dt="2025-02-07T03:54:28.124" v="30" actId="20577"/>
          <ac:spMkLst>
            <pc:docMk/>
            <pc:sldMk cId="436410740" sldId="572"/>
            <ac:spMk id="15" creationId="{623FA921-0EB4-4B7A-8C84-0519F0C630FB}"/>
          </ac:spMkLst>
        </pc:spChg>
      </pc:sldChg>
      <pc:sldChg chg="modSp mod">
        <pc:chgData name="林 誠(HAYASHI Makoto)" userId="95a88c0e-e74e-4309-9c97-d6b608e3f262" providerId="ADAL" clId="{D104EE30-56BB-4DF1-9E69-6AA583B6AB6C}" dt="2025-02-07T03:54:36.830" v="32" actId="20577"/>
        <pc:sldMkLst>
          <pc:docMk/>
          <pc:sldMk cId="2990285316" sldId="573"/>
        </pc:sldMkLst>
        <pc:spChg chg="mod">
          <ac:chgData name="林 誠(HAYASHI Makoto)" userId="95a88c0e-e74e-4309-9c97-d6b608e3f262" providerId="ADAL" clId="{D104EE30-56BB-4DF1-9E69-6AA583B6AB6C}" dt="2025-02-07T03:54:36.830" v="32" actId="20577"/>
          <ac:spMkLst>
            <pc:docMk/>
            <pc:sldMk cId="2990285316" sldId="573"/>
            <ac:spMk id="15" creationId="{D07C33D0-C512-4456-AED9-0510DDBB5BD7}"/>
          </ac:spMkLst>
        </pc:spChg>
      </pc:sldChg>
      <pc:sldChg chg="modSp mod">
        <pc:chgData name="林 誠(HAYASHI Makoto)" userId="95a88c0e-e74e-4309-9c97-d6b608e3f262" providerId="ADAL" clId="{D104EE30-56BB-4DF1-9E69-6AA583B6AB6C}" dt="2025-02-07T03:55:08.025" v="40" actId="20577"/>
        <pc:sldMkLst>
          <pc:docMk/>
          <pc:sldMk cId="1644570803" sldId="576"/>
        </pc:sldMkLst>
        <pc:spChg chg="mod">
          <ac:chgData name="林 誠(HAYASHI Makoto)" userId="95a88c0e-e74e-4309-9c97-d6b608e3f262" providerId="ADAL" clId="{D104EE30-56BB-4DF1-9E69-6AA583B6AB6C}" dt="2025-02-07T03:55:08.025" v="40" actId="20577"/>
          <ac:spMkLst>
            <pc:docMk/>
            <pc:sldMk cId="1644570803" sldId="576"/>
            <ac:spMk id="15" creationId="{99744721-1CDE-4AD7-A6A5-DFACC9C5FCD3}"/>
          </ac:spMkLst>
        </pc:spChg>
      </pc:sldChg>
      <pc:sldChg chg="modSp mod">
        <pc:chgData name="林 誠(HAYASHI Makoto)" userId="95a88c0e-e74e-4309-9c97-d6b608e3f262" providerId="ADAL" clId="{D104EE30-56BB-4DF1-9E69-6AA583B6AB6C}" dt="2025-02-07T03:54:48.239" v="34" actId="20577"/>
        <pc:sldMkLst>
          <pc:docMk/>
          <pc:sldMk cId="3750438938" sldId="577"/>
        </pc:sldMkLst>
        <pc:spChg chg="mod">
          <ac:chgData name="林 誠(HAYASHI Makoto)" userId="95a88c0e-e74e-4309-9c97-d6b608e3f262" providerId="ADAL" clId="{D104EE30-56BB-4DF1-9E69-6AA583B6AB6C}" dt="2025-02-07T03:54:48.239" v="34" actId="20577"/>
          <ac:spMkLst>
            <pc:docMk/>
            <pc:sldMk cId="3750438938" sldId="577"/>
            <ac:spMk id="12" creationId="{E59F3363-9BE5-4324-8935-D20D6D7F616E}"/>
          </ac:spMkLst>
        </pc:spChg>
      </pc:sldChg>
      <pc:sldChg chg="modSp mod">
        <pc:chgData name="林 誠(HAYASHI Makoto)" userId="95a88c0e-e74e-4309-9c97-d6b608e3f262" providerId="ADAL" clId="{D104EE30-56BB-4DF1-9E69-6AA583B6AB6C}" dt="2025-02-07T03:53:26.007" v="12" actId="20577"/>
        <pc:sldMkLst>
          <pc:docMk/>
          <pc:sldMk cId="2623137834" sldId="579"/>
        </pc:sldMkLst>
        <pc:spChg chg="mod">
          <ac:chgData name="林 誠(HAYASHI Makoto)" userId="95a88c0e-e74e-4309-9c97-d6b608e3f262" providerId="ADAL" clId="{D104EE30-56BB-4DF1-9E69-6AA583B6AB6C}" dt="2025-02-07T03:53:26.007" v="12" actId="20577"/>
          <ac:spMkLst>
            <pc:docMk/>
            <pc:sldMk cId="2623137834" sldId="579"/>
            <ac:spMk id="14" creationId="{0C8F7798-B76C-4C96-8BCB-4C45BD7B33C2}"/>
          </ac:spMkLst>
        </pc:spChg>
      </pc:sldChg>
      <pc:sldChg chg="modSp mod">
        <pc:chgData name="林 誠(HAYASHI Makoto)" userId="95a88c0e-e74e-4309-9c97-d6b608e3f262" providerId="ADAL" clId="{D104EE30-56BB-4DF1-9E69-6AA583B6AB6C}" dt="2025-02-07T03:53:31.570" v="14" actId="20577"/>
        <pc:sldMkLst>
          <pc:docMk/>
          <pc:sldMk cId="623603552" sldId="580"/>
        </pc:sldMkLst>
        <pc:spChg chg="mod">
          <ac:chgData name="林 誠(HAYASHI Makoto)" userId="95a88c0e-e74e-4309-9c97-d6b608e3f262" providerId="ADAL" clId="{D104EE30-56BB-4DF1-9E69-6AA583B6AB6C}" dt="2025-02-07T03:53:31.570" v="14" actId="20577"/>
          <ac:spMkLst>
            <pc:docMk/>
            <pc:sldMk cId="623603552" sldId="580"/>
            <ac:spMk id="14" creationId="{0C8F7798-B76C-4C96-8BCB-4C45BD7B33C2}"/>
          </ac:spMkLst>
        </pc:spChg>
      </pc:sldChg>
      <pc:sldChg chg="modSp mod">
        <pc:chgData name="林 誠(HAYASHI Makoto)" userId="95a88c0e-e74e-4309-9c97-d6b608e3f262" providerId="ADAL" clId="{D104EE30-56BB-4DF1-9E69-6AA583B6AB6C}" dt="2025-02-07T03:54:53.427" v="36" actId="20577"/>
        <pc:sldMkLst>
          <pc:docMk/>
          <pc:sldMk cId="3925924042" sldId="581"/>
        </pc:sldMkLst>
        <pc:spChg chg="mod">
          <ac:chgData name="林 誠(HAYASHI Makoto)" userId="95a88c0e-e74e-4309-9c97-d6b608e3f262" providerId="ADAL" clId="{D104EE30-56BB-4DF1-9E69-6AA583B6AB6C}" dt="2025-02-07T03:54:53.427" v="36" actId="20577"/>
          <ac:spMkLst>
            <pc:docMk/>
            <pc:sldMk cId="3925924042" sldId="581"/>
            <ac:spMk id="12" creationId="{E59F3363-9BE5-4324-8935-D20D6D7F616E}"/>
          </ac:spMkLst>
        </pc:spChg>
      </pc:sldChg>
      <pc:sldChg chg="modSp mod">
        <pc:chgData name="林 誠(HAYASHI Makoto)" userId="95a88c0e-e74e-4309-9c97-d6b608e3f262" providerId="ADAL" clId="{D104EE30-56BB-4DF1-9E69-6AA583B6AB6C}" dt="2025-02-07T03:54:22.841" v="28" actId="20577"/>
        <pc:sldMkLst>
          <pc:docMk/>
          <pc:sldMk cId="234195794" sldId="584"/>
        </pc:sldMkLst>
        <pc:spChg chg="mod">
          <ac:chgData name="林 誠(HAYASHI Makoto)" userId="95a88c0e-e74e-4309-9c97-d6b608e3f262" providerId="ADAL" clId="{D104EE30-56BB-4DF1-9E69-6AA583B6AB6C}" dt="2025-02-07T03:54:22.841" v="28" actId="20577"/>
          <ac:spMkLst>
            <pc:docMk/>
            <pc:sldMk cId="234195794" sldId="584"/>
            <ac:spMk id="27" creationId="{D0F14F95-91BB-4CB5-80F3-D60E15289762}"/>
          </ac:spMkLst>
        </pc:spChg>
      </pc:sldChg>
      <pc:sldChg chg="modSp mod">
        <pc:chgData name="林 誠(HAYASHI Makoto)" userId="95a88c0e-e74e-4309-9c97-d6b608e3f262" providerId="ADAL" clId="{D104EE30-56BB-4DF1-9E69-6AA583B6AB6C}" dt="2025-02-07T03:53:38.468" v="16" actId="20577"/>
        <pc:sldMkLst>
          <pc:docMk/>
          <pc:sldMk cId="4009739031" sldId="644"/>
        </pc:sldMkLst>
        <pc:spChg chg="mod">
          <ac:chgData name="林 誠(HAYASHI Makoto)" userId="95a88c0e-e74e-4309-9c97-d6b608e3f262" providerId="ADAL" clId="{D104EE30-56BB-4DF1-9E69-6AA583B6AB6C}" dt="2025-02-07T03:53:38.468" v="16" actId="20577"/>
          <ac:spMkLst>
            <pc:docMk/>
            <pc:sldMk cId="4009739031" sldId="644"/>
            <ac:spMk id="14" creationId="{0C8F7798-B76C-4C96-8BCB-4C45BD7B33C2}"/>
          </ac:spMkLst>
        </pc:spChg>
      </pc:sldChg>
      <pc:sldChg chg="modSp mod">
        <pc:chgData name="林 誠(HAYASHI Makoto)" userId="95a88c0e-e74e-4309-9c97-d6b608e3f262" providerId="ADAL" clId="{D104EE30-56BB-4DF1-9E69-6AA583B6AB6C}" dt="2025-02-07T03:55:01.144" v="38" actId="20577"/>
        <pc:sldMkLst>
          <pc:docMk/>
          <pc:sldMk cId="1543089725" sldId="645"/>
        </pc:sldMkLst>
        <pc:spChg chg="mod">
          <ac:chgData name="林 誠(HAYASHI Makoto)" userId="95a88c0e-e74e-4309-9c97-d6b608e3f262" providerId="ADAL" clId="{D104EE30-56BB-4DF1-9E69-6AA583B6AB6C}" dt="2025-02-07T03:55:01.144" v="38" actId="20577"/>
          <ac:spMkLst>
            <pc:docMk/>
            <pc:sldMk cId="1543089725" sldId="645"/>
            <ac:spMk id="12" creationId="{E59F3363-9BE5-4324-8935-D20D6D7F616E}"/>
          </ac:spMkLst>
        </pc:spChg>
      </pc:sldChg>
      <pc:sldChg chg="del">
        <pc:chgData name="林 誠(HAYASHI Makoto)" userId="95a88c0e-e74e-4309-9c97-d6b608e3f262" providerId="ADAL" clId="{D104EE30-56BB-4DF1-9E69-6AA583B6AB6C}" dt="2025-02-07T03:49:24.727" v="0" actId="47"/>
        <pc:sldMkLst>
          <pc:docMk/>
          <pc:sldMk cId="1126868999" sldId="646"/>
        </pc:sldMkLst>
      </pc:sldChg>
      <pc:sldChg chg="del">
        <pc:chgData name="林 誠(HAYASHI Makoto)" userId="95a88c0e-e74e-4309-9c97-d6b608e3f262" providerId="ADAL" clId="{D104EE30-56BB-4DF1-9E69-6AA583B6AB6C}" dt="2025-02-07T03:49:24.727" v="0" actId="47"/>
        <pc:sldMkLst>
          <pc:docMk/>
          <pc:sldMk cId="2110116516" sldId="647"/>
        </pc:sldMkLst>
      </pc:sldChg>
      <pc:sldChg chg="del">
        <pc:chgData name="林 誠(HAYASHI Makoto)" userId="95a88c0e-e74e-4309-9c97-d6b608e3f262" providerId="ADAL" clId="{D104EE30-56BB-4DF1-9E69-6AA583B6AB6C}" dt="2025-02-07T03:49:24.727" v="0" actId="47"/>
        <pc:sldMkLst>
          <pc:docMk/>
          <pc:sldMk cId="56317086" sldId="648"/>
        </pc:sldMkLst>
      </pc:sldChg>
      <pc:sldChg chg="del">
        <pc:chgData name="林 誠(HAYASHI Makoto)" userId="95a88c0e-e74e-4309-9c97-d6b608e3f262" providerId="ADAL" clId="{D104EE30-56BB-4DF1-9E69-6AA583B6AB6C}" dt="2025-02-07T03:49:24.727" v="0" actId="47"/>
        <pc:sldMkLst>
          <pc:docMk/>
          <pc:sldMk cId="2362538156" sldId="649"/>
        </pc:sldMkLst>
      </pc:sldChg>
      <pc:sldChg chg="del">
        <pc:chgData name="林 誠(HAYASHI Makoto)" userId="95a88c0e-e74e-4309-9c97-d6b608e3f262" providerId="ADAL" clId="{D104EE30-56BB-4DF1-9E69-6AA583B6AB6C}" dt="2025-02-07T03:49:24.727" v="0" actId="47"/>
        <pc:sldMkLst>
          <pc:docMk/>
          <pc:sldMk cId="28415863" sldId="650"/>
        </pc:sldMkLst>
      </pc:sldChg>
      <pc:sldChg chg="del">
        <pc:chgData name="林 誠(HAYASHI Makoto)" userId="95a88c0e-e74e-4309-9c97-d6b608e3f262" providerId="ADAL" clId="{D104EE30-56BB-4DF1-9E69-6AA583B6AB6C}" dt="2025-02-07T03:49:24.727" v="0" actId="47"/>
        <pc:sldMkLst>
          <pc:docMk/>
          <pc:sldMk cId="2629079997" sldId="655"/>
        </pc:sldMkLst>
      </pc:sldChg>
      <pc:sldChg chg="del">
        <pc:chgData name="林 誠(HAYASHI Makoto)" userId="95a88c0e-e74e-4309-9c97-d6b608e3f262" providerId="ADAL" clId="{D104EE30-56BB-4DF1-9E69-6AA583B6AB6C}" dt="2025-02-07T03:49:24.727" v="0" actId="47"/>
        <pc:sldMkLst>
          <pc:docMk/>
          <pc:sldMk cId="3814485808" sldId="656"/>
        </pc:sldMkLst>
      </pc:sldChg>
      <pc:sldChg chg="del">
        <pc:chgData name="林 誠(HAYASHI Makoto)" userId="95a88c0e-e74e-4309-9c97-d6b608e3f262" providerId="ADAL" clId="{D104EE30-56BB-4DF1-9E69-6AA583B6AB6C}" dt="2025-02-07T03:49:24.727" v="0" actId="47"/>
        <pc:sldMkLst>
          <pc:docMk/>
          <pc:sldMk cId="3485872766" sldId="657"/>
        </pc:sldMkLst>
      </pc:sldChg>
      <pc:sldChg chg="del">
        <pc:chgData name="林 誠(HAYASHI Makoto)" userId="95a88c0e-e74e-4309-9c97-d6b608e3f262" providerId="ADAL" clId="{D104EE30-56BB-4DF1-9E69-6AA583B6AB6C}" dt="2025-02-07T03:49:24.727" v="0" actId="47"/>
        <pc:sldMkLst>
          <pc:docMk/>
          <pc:sldMk cId="456336132" sldId="658"/>
        </pc:sldMkLst>
      </pc:sldChg>
      <pc:sldChg chg="del">
        <pc:chgData name="林 誠(HAYASHI Makoto)" userId="95a88c0e-e74e-4309-9c97-d6b608e3f262" providerId="ADAL" clId="{D104EE30-56BB-4DF1-9E69-6AA583B6AB6C}" dt="2025-02-07T03:49:24.727" v="0" actId="47"/>
        <pc:sldMkLst>
          <pc:docMk/>
          <pc:sldMk cId="4192285779" sldId="659"/>
        </pc:sldMkLst>
      </pc:sldChg>
      <pc:sldChg chg="del">
        <pc:chgData name="林 誠(HAYASHI Makoto)" userId="95a88c0e-e74e-4309-9c97-d6b608e3f262" providerId="ADAL" clId="{D104EE30-56BB-4DF1-9E69-6AA583B6AB6C}" dt="2025-02-07T03:49:24.727" v="0" actId="47"/>
        <pc:sldMkLst>
          <pc:docMk/>
          <pc:sldMk cId="1906108151" sldId="660"/>
        </pc:sldMkLst>
      </pc:sldChg>
      <pc:sldChg chg="del">
        <pc:chgData name="林 誠(HAYASHI Makoto)" userId="95a88c0e-e74e-4309-9c97-d6b608e3f262" providerId="ADAL" clId="{D104EE30-56BB-4DF1-9E69-6AA583B6AB6C}" dt="2025-02-07T03:49:24.727" v="0" actId="47"/>
        <pc:sldMkLst>
          <pc:docMk/>
          <pc:sldMk cId="56040252" sldId="661"/>
        </pc:sldMkLst>
      </pc:sldChg>
      <pc:sldChg chg="del">
        <pc:chgData name="林 誠(HAYASHI Makoto)" userId="95a88c0e-e74e-4309-9c97-d6b608e3f262" providerId="ADAL" clId="{D104EE30-56BB-4DF1-9E69-6AA583B6AB6C}" dt="2025-02-07T03:49:24.727" v="0" actId="47"/>
        <pc:sldMkLst>
          <pc:docMk/>
          <pc:sldMk cId="4127057342" sldId="662"/>
        </pc:sldMkLst>
      </pc:sldChg>
      <pc:sldChg chg="del">
        <pc:chgData name="林 誠(HAYASHI Makoto)" userId="95a88c0e-e74e-4309-9c97-d6b608e3f262" providerId="ADAL" clId="{D104EE30-56BB-4DF1-9E69-6AA583B6AB6C}" dt="2025-02-07T03:49:24.727" v="0" actId="47"/>
        <pc:sldMkLst>
          <pc:docMk/>
          <pc:sldMk cId="366017168" sldId="663"/>
        </pc:sldMkLst>
      </pc:sldChg>
      <pc:sldChg chg="del">
        <pc:chgData name="林 誠(HAYASHI Makoto)" userId="95a88c0e-e74e-4309-9c97-d6b608e3f262" providerId="ADAL" clId="{D104EE30-56BB-4DF1-9E69-6AA583B6AB6C}" dt="2025-02-07T03:49:24.727" v="0" actId="47"/>
        <pc:sldMkLst>
          <pc:docMk/>
          <pc:sldMk cId="2963537003" sldId="664"/>
        </pc:sldMkLst>
      </pc:sldChg>
      <pc:sldChg chg="del">
        <pc:chgData name="林 誠(HAYASHI Makoto)" userId="95a88c0e-e74e-4309-9c97-d6b608e3f262" providerId="ADAL" clId="{D104EE30-56BB-4DF1-9E69-6AA583B6AB6C}" dt="2025-02-07T03:49:24.727" v="0" actId="47"/>
        <pc:sldMkLst>
          <pc:docMk/>
          <pc:sldMk cId="1683112994" sldId="665"/>
        </pc:sldMkLst>
      </pc:sldChg>
      <pc:sldChg chg="del">
        <pc:chgData name="林 誠(HAYASHI Makoto)" userId="95a88c0e-e74e-4309-9c97-d6b608e3f262" providerId="ADAL" clId="{D104EE30-56BB-4DF1-9E69-6AA583B6AB6C}" dt="2025-02-07T03:49:24.727" v="0" actId="47"/>
        <pc:sldMkLst>
          <pc:docMk/>
          <pc:sldMk cId="1599200437" sldId="672"/>
        </pc:sldMkLst>
      </pc:sldChg>
      <pc:sldChg chg="del">
        <pc:chgData name="林 誠(HAYASHI Makoto)" userId="95a88c0e-e74e-4309-9c97-d6b608e3f262" providerId="ADAL" clId="{D104EE30-56BB-4DF1-9E69-6AA583B6AB6C}" dt="2025-02-07T03:49:24.727" v="0" actId="47"/>
        <pc:sldMkLst>
          <pc:docMk/>
          <pc:sldMk cId="1412944858" sldId="673"/>
        </pc:sldMkLst>
      </pc:sldChg>
      <pc:sldChg chg="del">
        <pc:chgData name="林 誠(HAYASHI Makoto)" userId="95a88c0e-e74e-4309-9c97-d6b608e3f262" providerId="ADAL" clId="{D104EE30-56BB-4DF1-9E69-6AA583B6AB6C}" dt="2025-02-07T03:49:24.727" v="0" actId="47"/>
        <pc:sldMkLst>
          <pc:docMk/>
          <pc:sldMk cId="2247502625" sldId="674"/>
        </pc:sldMkLst>
      </pc:sldChg>
      <pc:sldChg chg="del">
        <pc:chgData name="林 誠(HAYASHI Makoto)" userId="95a88c0e-e74e-4309-9c97-d6b608e3f262" providerId="ADAL" clId="{D104EE30-56BB-4DF1-9E69-6AA583B6AB6C}" dt="2025-02-07T03:49:24.727" v="0" actId="47"/>
        <pc:sldMkLst>
          <pc:docMk/>
          <pc:sldMk cId="3272365192" sldId="675"/>
        </pc:sldMkLst>
      </pc:sldChg>
      <pc:sldChg chg="modTransition">
        <pc:chgData name="林 誠(HAYASHI Makoto)" userId="95a88c0e-e74e-4309-9c97-d6b608e3f262" providerId="ADAL" clId="{D104EE30-56BB-4DF1-9E69-6AA583B6AB6C}" dt="2025-02-07T03:50:38.135" v="2"/>
        <pc:sldMkLst>
          <pc:docMk/>
          <pc:sldMk cId="403796867" sldId="2147379358"/>
        </pc:sldMkLst>
      </pc:sldChg>
      <pc:sldChg chg="del">
        <pc:chgData name="林 誠(HAYASHI Makoto)" userId="95a88c0e-e74e-4309-9c97-d6b608e3f262" providerId="ADAL" clId="{D104EE30-56BB-4DF1-9E69-6AA583B6AB6C}" dt="2025-02-07T03:49:24.727" v="0" actId="47"/>
        <pc:sldMkLst>
          <pc:docMk/>
          <pc:sldMk cId="1197684915" sldId="2147379361"/>
        </pc:sldMkLst>
      </pc:sldChg>
      <pc:sldChg chg="del">
        <pc:chgData name="林 誠(HAYASHI Makoto)" userId="95a88c0e-e74e-4309-9c97-d6b608e3f262" providerId="ADAL" clId="{D104EE30-56BB-4DF1-9E69-6AA583B6AB6C}" dt="2025-02-07T03:49:24.727" v="0" actId="47"/>
        <pc:sldMkLst>
          <pc:docMk/>
          <pc:sldMk cId="3136604624" sldId="2147379362"/>
        </pc:sldMkLst>
      </pc:sldChg>
      <pc:sldChg chg="del">
        <pc:chgData name="林 誠(HAYASHI Makoto)" userId="95a88c0e-e74e-4309-9c97-d6b608e3f262" providerId="ADAL" clId="{D104EE30-56BB-4DF1-9E69-6AA583B6AB6C}" dt="2025-02-07T03:49:24.727" v="0" actId="47"/>
        <pc:sldMkLst>
          <pc:docMk/>
          <pc:sldMk cId="276410821" sldId="2147379363"/>
        </pc:sldMkLst>
      </pc:sldChg>
      <pc:sldChg chg="addSp delSp modSp mod">
        <pc:chgData name="林 誠(HAYASHI Makoto)" userId="95a88c0e-e74e-4309-9c97-d6b608e3f262" providerId="ADAL" clId="{D104EE30-56BB-4DF1-9E69-6AA583B6AB6C}" dt="2025-02-07T03:52:01.961" v="6"/>
        <pc:sldMkLst>
          <pc:docMk/>
          <pc:sldMk cId="655627335" sldId="2147379364"/>
        </pc:sldMkLst>
        <pc:spChg chg="add mod">
          <ac:chgData name="林 誠(HAYASHI Makoto)" userId="95a88c0e-e74e-4309-9c97-d6b608e3f262" providerId="ADAL" clId="{D104EE30-56BB-4DF1-9E69-6AA583B6AB6C}" dt="2025-02-07T03:52:01.961" v="6"/>
          <ac:spMkLst>
            <pc:docMk/>
            <pc:sldMk cId="655627335" sldId="2147379364"/>
            <ac:spMk id="2" creationId="{37B40A7D-6DE2-AD8E-721E-EEAAB7C543BB}"/>
          </ac:spMkLst>
        </pc:spChg>
        <pc:spChg chg="del">
          <ac:chgData name="林 誠(HAYASHI Makoto)" userId="95a88c0e-e74e-4309-9c97-d6b608e3f262" providerId="ADAL" clId="{D104EE30-56BB-4DF1-9E69-6AA583B6AB6C}" dt="2025-02-07T03:51:52.689" v="5" actId="478"/>
          <ac:spMkLst>
            <pc:docMk/>
            <pc:sldMk cId="655627335" sldId="2147379364"/>
            <ac:spMk id="1991" creationId="{00000000-0000-0000-0000-000000000000}"/>
          </ac:spMkLst>
        </pc:spChg>
      </pc:sldChg>
      <pc:sldChg chg="modTransition">
        <pc:chgData name="林 誠(HAYASHI Makoto)" userId="95a88c0e-e74e-4309-9c97-d6b608e3f262" providerId="ADAL" clId="{D104EE30-56BB-4DF1-9E69-6AA583B6AB6C}" dt="2025-02-07T03:50:59.209" v="4"/>
        <pc:sldMkLst>
          <pc:docMk/>
          <pc:sldMk cId="106876346" sldId="214748111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8" name="Rectangle 2"/>
          <p:cNvSpPr>
            <a:spLocks noGrp="1" noChangeArrowheads="1"/>
          </p:cNvSpPr>
          <p:nvPr>
            <p:ph type="hdr" sz="quarter"/>
          </p:nvPr>
        </p:nvSpPr>
        <p:spPr>
          <a:xfrm>
            <a:off x="1" y="1"/>
            <a:ext cx="2922350"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9" name="Rectangle 3"/>
          <p:cNvSpPr>
            <a:spLocks noGrp="1" noChangeArrowheads="1"/>
          </p:cNvSpPr>
          <p:nvPr>
            <p:ph type="dt" sz="quarter" idx="1"/>
          </p:nvPr>
        </p:nvSpPr>
        <p:spPr>
          <a:xfrm>
            <a:off x="3845198" y="1"/>
            <a:ext cx="2922349"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20" name="Rectangle 4"/>
          <p:cNvSpPr>
            <a:spLocks noGrp="1" noChangeArrowheads="1"/>
          </p:cNvSpPr>
          <p:nvPr>
            <p:ph type="ftr" sz="quarter" idx="2"/>
          </p:nvPr>
        </p:nvSpPr>
        <p:spPr>
          <a:xfrm>
            <a:off x="1" y="9430386"/>
            <a:ext cx="2922350"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21" name="Rectangle 5"/>
          <p:cNvSpPr>
            <a:spLocks noGrp="1" noChangeArrowheads="1"/>
          </p:cNvSpPr>
          <p:nvPr>
            <p:ph type="sldNum" sz="quarter" idx="3"/>
          </p:nvPr>
        </p:nvSpPr>
        <p:spPr>
          <a:xfrm>
            <a:off x="3845198" y="9430386"/>
            <a:ext cx="2922349"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4B53F7E7-4D7A-4BA0-8145-D9EED7F0E647}" type="slidenum">
              <a:rPr lang="en-US" altLang="ja-JP"/>
              <a:pPr>
                <a:defRPr/>
              </a:pPr>
              <a:t>‹#›</a:t>
            </a:fld>
            <a:endParaRPr lang="en-US" altLang="ja-JP"/>
          </a:p>
        </p:txBody>
      </p:sp>
    </p:spTree>
    <p:extLst>
      <p:ext uri="{BB962C8B-B14F-4D97-AF65-F5344CB8AC3E}">
        <p14:creationId xmlns:p14="http://schemas.microsoft.com/office/powerpoint/2010/main" val="33647960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1" name="Rectangle 2"/>
          <p:cNvSpPr>
            <a:spLocks noGrp="1" noChangeArrowheads="1"/>
          </p:cNvSpPr>
          <p:nvPr>
            <p:ph type="hdr" sz="quarter"/>
          </p:nvPr>
        </p:nvSpPr>
        <p:spPr>
          <a:xfrm>
            <a:off x="0"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2" name="Rectangle 3"/>
          <p:cNvSpPr>
            <a:spLocks noGrp="1" noChangeArrowheads="1"/>
          </p:cNvSpPr>
          <p:nvPr>
            <p:ph type="dt" idx="1"/>
          </p:nvPr>
        </p:nvSpPr>
        <p:spPr>
          <a:xfrm>
            <a:off x="3849955"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13" name="Rectangle 4"/>
          <p:cNvSpPr>
            <a:spLocks noGrp="1" noRot="1" noChangeAspect="1" noChangeArrowheads="1" noTextEdit="1"/>
          </p:cNvSpPr>
          <p:nvPr>
            <p:ph type="sldImg" idx="2"/>
          </p:nvPr>
        </p:nvSpPr>
        <p:spPr>
          <a:xfrm>
            <a:off x="915988" y="744538"/>
            <a:ext cx="4964112" cy="3722687"/>
          </a:xfrm>
          <a:prstGeom prst="rect">
            <a:avLst/>
          </a:prstGeom>
          <a:noFill/>
          <a:ln w="9525">
            <a:solidFill>
              <a:srgbClr val="000000"/>
            </a:solidFill>
            <a:miter lim="800000"/>
            <a:headEnd/>
            <a:tailEnd/>
          </a:ln>
        </p:spPr>
      </p:sp>
      <p:sp>
        <p:nvSpPr>
          <p:cNvPr id="1214" name="Rectangle 5"/>
          <p:cNvSpPr>
            <a:spLocks noGrp="1" noChangeArrowheads="1"/>
          </p:cNvSpPr>
          <p:nvPr>
            <p:ph type="body" sz="quarter" idx="3"/>
          </p:nvPr>
        </p:nvSpPr>
        <p:spPr>
          <a:xfrm>
            <a:off x="678658" y="4715193"/>
            <a:ext cx="5440360" cy="4467859"/>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1215" name="Rectangle 6"/>
          <p:cNvSpPr>
            <a:spLocks noGrp="1" noChangeArrowheads="1"/>
          </p:cNvSpPr>
          <p:nvPr>
            <p:ph type="ftr" sz="quarter" idx="4"/>
          </p:nvPr>
        </p:nvSpPr>
        <p:spPr>
          <a:xfrm>
            <a:off x="0"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6" name="Rectangle 7"/>
          <p:cNvSpPr>
            <a:spLocks noGrp="1" noChangeArrowheads="1"/>
          </p:cNvSpPr>
          <p:nvPr>
            <p:ph type="sldNum" sz="quarter" idx="5"/>
          </p:nvPr>
        </p:nvSpPr>
        <p:spPr>
          <a:xfrm>
            <a:off x="3849955"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pPr>
                <a:defRPr/>
              </a:pPr>
              <a:t>‹#›</a:t>
            </a:fld>
            <a:endParaRPr lang="en-US" altLang="ja-JP"/>
          </a:p>
        </p:txBody>
      </p:sp>
    </p:spTree>
    <p:extLst>
      <p:ext uri="{BB962C8B-B14F-4D97-AF65-F5344CB8AC3E}">
        <p14:creationId xmlns:p14="http://schemas.microsoft.com/office/powerpoint/2010/main" val="28348193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30302">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9366" indent="-288218" defTabSz="930302">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2870"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4017"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5164"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6313"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7462"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8609"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9757"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30302"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30302" rtl="0" eaLnBrk="1" fontAlgn="base" latinLnBrk="0" hangingPunct="1">
                <a:lnSpc>
                  <a:spcPct val="100000"/>
                </a:lnSpc>
                <a:spcBef>
                  <a:spcPct val="0"/>
                </a:spcBef>
                <a:spcAft>
                  <a:spcPct val="0"/>
                </a:spcAft>
                <a:buClrTx/>
                <a:buSzTx/>
                <a:buFontTx/>
                <a:buNone/>
                <a:tabLst/>
                <a:defRPr/>
              </a:pPr>
              <a:t>2</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6437784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4" name="Rectangle 7"/>
          <p:cNvSpPr>
            <a:spLocks noGrp="1" noChangeArrowheads="1"/>
          </p:cNvSpPr>
          <p:nvPr>
            <p:ph type="sldNum" sz="quarter" idx="5"/>
          </p:nvPr>
        </p:nvSpPr>
        <p:spPr>
          <a:noFill/>
          <a:ln/>
        </p:spPr>
        <p:txBody>
          <a:bodyPr/>
          <a:lstStyle>
            <a:lvl1pPr defTabSz="92227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03" indent="-285732" defTabSz="92227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292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09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267"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438"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60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877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594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2278"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2278" rtl="0" eaLnBrk="1" fontAlgn="base" latinLnBrk="0" hangingPunct="1">
                <a:lnSpc>
                  <a:spcPct val="100000"/>
                </a:lnSpc>
                <a:spcBef>
                  <a:spcPct val="0"/>
                </a:spcBef>
                <a:spcAft>
                  <a:spcPct val="0"/>
                </a:spcAft>
                <a:buClrTx/>
                <a:buSzTx/>
                <a:buFontTx/>
                <a:buNone/>
                <a:tabLst/>
                <a:defRPr/>
              </a:pPr>
              <a:t>11</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15" name="Rectangle 2"/>
          <p:cNvSpPr>
            <a:spLocks noGrp="1" noRot="1" noChangeAspect="1" noChangeArrowheads="1" noTextEdit="1"/>
          </p:cNvSpPr>
          <p:nvPr>
            <p:ph type="sldImg"/>
          </p:nvPr>
        </p:nvSpPr>
        <p:spPr>
          <a:ln/>
        </p:spPr>
      </p:sp>
      <p:sp>
        <p:nvSpPr>
          <p:cNvPr id="131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686912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7" name="Rectangle 7"/>
          <p:cNvSpPr>
            <a:spLocks noGrp="1" noChangeArrowheads="1"/>
          </p:cNvSpPr>
          <p:nvPr>
            <p:ph type="sldNum" sz="quarter" idx="5"/>
          </p:nvPr>
        </p:nvSpPr>
        <p:spPr>
          <a:noFill/>
          <a:ln/>
        </p:spPr>
        <p:txBody>
          <a:bodyPr/>
          <a:lstStyle>
            <a:lvl1pPr defTabSz="92227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03" indent="-285732" defTabSz="92227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292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09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267"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438"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60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877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594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2278"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2278" rtl="0" eaLnBrk="1" fontAlgn="base" latinLnBrk="0" hangingPunct="1">
                <a:lnSpc>
                  <a:spcPct val="100000"/>
                </a:lnSpc>
                <a:spcBef>
                  <a:spcPct val="0"/>
                </a:spcBef>
                <a:spcAft>
                  <a:spcPct val="0"/>
                </a:spcAft>
                <a:buClrTx/>
                <a:buSzTx/>
                <a:buFontTx/>
                <a:buNone/>
                <a:tabLst/>
                <a:defRPr/>
              </a:pPr>
              <a:t>12</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28" name="Rectangle 2"/>
          <p:cNvSpPr>
            <a:spLocks noGrp="1" noRot="1" noChangeAspect="1" noChangeArrowheads="1" noTextEdit="1"/>
          </p:cNvSpPr>
          <p:nvPr>
            <p:ph type="sldImg"/>
          </p:nvPr>
        </p:nvSpPr>
        <p:spPr>
          <a:ln/>
        </p:spPr>
      </p:sp>
      <p:sp>
        <p:nvSpPr>
          <p:cNvPr id="132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0599602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3" name="Rectangle 7"/>
          <p:cNvSpPr>
            <a:spLocks noGrp="1" noChangeArrowheads="1"/>
          </p:cNvSpPr>
          <p:nvPr>
            <p:ph type="sldNum" sz="quarter" idx="5"/>
          </p:nvPr>
        </p:nvSpPr>
        <p:spPr>
          <a:noFill/>
          <a:ln/>
        </p:spPr>
        <p:txBody>
          <a:bodyPr/>
          <a:lstStyle>
            <a:lvl1pPr defTabSz="92227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03" indent="-285732" defTabSz="92227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292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09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267"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438"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60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877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594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2278"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2278" rtl="0" eaLnBrk="1" fontAlgn="base" latinLnBrk="0" hangingPunct="1">
                <a:lnSpc>
                  <a:spcPct val="100000"/>
                </a:lnSpc>
                <a:spcBef>
                  <a:spcPct val="0"/>
                </a:spcBef>
                <a:spcAft>
                  <a:spcPct val="0"/>
                </a:spcAft>
                <a:buClrTx/>
                <a:buSzTx/>
                <a:buFontTx/>
                <a:buNone/>
                <a:tabLst/>
                <a:defRPr/>
              </a:pPr>
              <a:t>13</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44" name="Rectangle 2"/>
          <p:cNvSpPr>
            <a:spLocks noGrp="1" noRot="1" noChangeAspect="1" noChangeArrowheads="1" noTextEdit="1"/>
          </p:cNvSpPr>
          <p:nvPr>
            <p:ph type="sldImg"/>
          </p:nvPr>
        </p:nvSpPr>
        <p:spPr>
          <a:ln/>
        </p:spPr>
      </p:sp>
      <p:sp>
        <p:nvSpPr>
          <p:cNvPr id="134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1769282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4" name="Rectangle 7"/>
          <p:cNvSpPr>
            <a:spLocks noGrp="1" noChangeArrowheads="1"/>
          </p:cNvSpPr>
          <p:nvPr>
            <p:ph type="sldNum" sz="quarter" idx="5"/>
          </p:nvPr>
        </p:nvSpPr>
        <p:spPr>
          <a:noFill/>
          <a:ln/>
        </p:spPr>
        <p:txBody>
          <a:bodyPr/>
          <a:lstStyle>
            <a:lvl1pPr defTabSz="92227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03" indent="-285732" defTabSz="92227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292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09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267"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438"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60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877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594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2278"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2278" rtl="0" eaLnBrk="1" fontAlgn="base" latinLnBrk="0" hangingPunct="1">
                <a:lnSpc>
                  <a:spcPct val="100000"/>
                </a:lnSpc>
                <a:spcBef>
                  <a:spcPct val="0"/>
                </a:spcBef>
                <a:spcAft>
                  <a:spcPct val="0"/>
                </a:spcAft>
                <a:buClrTx/>
                <a:buSzTx/>
                <a:buFontTx/>
                <a:buNone/>
                <a:tabLst/>
                <a:defRPr/>
              </a:pPr>
              <a:t>14</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95" name="Rectangle 2"/>
          <p:cNvSpPr>
            <a:spLocks noGrp="1" noRot="1" noChangeAspect="1" noChangeArrowheads="1" noTextEdit="1"/>
          </p:cNvSpPr>
          <p:nvPr>
            <p:ph type="sldImg"/>
          </p:nvPr>
        </p:nvSpPr>
        <p:spPr>
          <a:ln/>
        </p:spPr>
      </p:sp>
      <p:sp>
        <p:nvSpPr>
          <p:cNvPr id="139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964211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4" name="Rectangle 7"/>
          <p:cNvSpPr>
            <a:spLocks noGrp="1" noChangeArrowheads="1"/>
          </p:cNvSpPr>
          <p:nvPr>
            <p:ph type="sldNum" sz="quarter" idx="5"/>
          </p:nvPr>
        </p:nvSpPr>
        <p:spPr>
          <a:noFill/>
          <a:ln/>
        </p:spPr>
        <p:txBody>
          <a:bodyPr/>
          <a:lstStyle>
            <a:lvl1pPr defTabSz="92227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03" indent="-285732" defTabSz="92227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292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09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267"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438"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60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877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594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2278"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2278" rtl="0" eaLnBrk="1" fontAlgn="base" latinLnBrk="0" hangingPunct="1">
                <a:lnSpc>
                  <a:spcPct val="100000"/>
                </a:lnSpc>
                <a:spcBef>
                  <a:spcPct val="0"/>
                </a:spcBef>
                <a:spcAft>
                  <a:spcPct val="0"/>
                </a:spcAft>
                <a:buClrTx/>
                <a:buSzTx/>
                <a:buFontTx/>
                <a:buNone/>
                <a:tabLst/>
                <a:defRPr/>
              </a:pPr>
              <a:t>15</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95" name="Rectangle 2"/>
          <p:cNvSpPr>
            <a:spLocks noGrp="1" noRot="1" noChangeAspect="1" noChangeArrowheads="1" noTextEdit="1"/>
          </p:cNvSpPr>
          <p:nvPr>
            <p:ph type="sldImg"/>
          </p:nvPr>
        </p:nvSpPr>
        <p:spPr>
          <a:ln/>
        </p:spPr>
      </p:sp>
      <p:sp>
        <p:nvSpPr>
          <p:cNvPr id="139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3745540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7"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16</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858" name="Rectangle 2"/>
          <p:cNvSpPr>
            <a:spLocks noGrp="1" noRot="1" noChangeAspect="1" noChangeArrowheads="1" noTextEdit="1"/>
          </p:cNvSpPr>
          <p:nvPr>
            <p:ph type="sldImg"/>
          </p:nvPr>
        </p:nvSpPr>
        <p:spPr>
          <a:ln/>
        </p:spPr>
      </p:sp>
      <p:sp>
        <p:nvSpPr>
          <p:cNvPr id="185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3044096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9"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17</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890" name="Rectangle 2"/>
          <p:cNvSpPr>
            <a:spLocks noGrp="1" noRot="1" noChangeAspect="1" noChangeArrowheads="1" noTextEdit="1"/>
          </p:cNvSpPr>
          <p:nvPr>
            <p:ph type="sldImg"/>
          </p:nvPr>
        </p:nvSpPr>
        <p:spPr>
          <a:ln/>
        </p:spPr>
      </p:sp>
      <p:sp>
        <p:nvSpPr>
          <p:cNvPr id="189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6501775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18</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4981300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19</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4332343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20</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208021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2" name="Rectangle 7"/>
          <p:cNvSpPr>
            <a:spLocks noGrp="1" noChangeArrowheads="1"/>
          </p:cNvSpPr>
          <p:nvPr>
            <p:ph type="sldNum" sz="quarter" idx="5"/>
          </p:nvPr>
        </p:nvSpPr>
        <p:spPr>
          <a:noFill/>
          <a:ln/>
        </p:spPr>
        <p:txBody>
          <a:bodyPr/>
          <a:lstStyle>
            <a:lvl1pPr defTabSz="930302">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9366" indent="-288218" defTabSz="930302">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2870"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4017"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5164"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6313"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7462"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8609"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9757"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30302"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30302" rtl="0" eaLnBrk="1" fontAlgn="base" latinLnBrk="0" hangingPunct="1">
                <a:lnSpc>
                  <a:spcPct val="100000"/>
                </a:lnSpc>
                <a:spcBef>
                  <a:spcPct val="0"/>
                </a:spcBef>
                <a:spcAft>
                  <a:spcPct val="0"/>
                </a:spcAft>
                <a:buClrTx/>
                <a:buSzTx/>
                <a:buFontTx/>
                <a:buNone/>
                <a:tabLst/>
                <a:defRPr/>
              </a:pPr>
              <a:t>3</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53" name="Rectangle 2"/>
          <p:cNvSpPr>
            <a:spLocks noGrp="1" noRot="1" noChangeAspect="1" noChangeArrowheads="1" noTextEdit="1"/>
          </p:cNvSpPr>
          <p:nvPr>
            <p:ph type="sldImg"/>
          </p:nvPr>
        </p:nvSpPr>
        <p:spPr>
          <a:ln/>
        </p:spPr>
      </p:sp>
      <p:sp>
        <p:nvSpPr>
          <p:cNvPr id="125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7807343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21</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6147525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22</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5764044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23</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7817329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24</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2540769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3"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25</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64" name="Rectangle 2"/>
          <p:cNvSpPr>
            <a:spLocks noGrp="1" noRot="1" noChangeAspect="1" noChangeArrowheads="1" noTextEdit="1"/>
          </p:cNvSpPr>
          <p:nvPr>
            <p:ph type="sldImg"/>
          </p:nvPr>
        </p:nvSpPr>
        <p:spPr>
          <a:ln/>
        </p:spPr>
      </p:sp>
      <p:sp>
        <p:nvSpPr>
          <p:cNvPr id="196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4716576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26</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1019465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27</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6237563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28</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1903375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29</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6380256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30</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97391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30302">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9366" indent="-288218" defTabSz="930302">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2870"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4017"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5164"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6313"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7462"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8609"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9757"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30302"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30302" rtl="0" eaLnBrk="1" fontAlgn="base" latinLnBrk="0" hangingPunct="1">
                <a:lnSpc>
                  <a:spcPct val="100000"/>
                </a:lnSpc>
                <a:spcBef>
                  <a:spcPct val="0"/>
                </a:spcBef>
                <a:spcAft>
                  <a:spcPct val="0"/>
                </a:spcAft>
                <a:buClrTx/>
                <a:buSzTx/>
                <a:buFontTx/>
                <a:buNone/>
                <a:tabLst/>
                <a:defRPr/>
              </a:pPr>
              <a:t>4</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891938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31</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0923263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32</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1793184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6"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33</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27" name="Rectangle 2"/>
          <p:cNvSpPr>
            <a:spLocks noGrp="1" noRot="1" noChangeAspect="1" noChangeArrowheads="1" noTextEdit="1"/>
          </p:cNvSpPr>
          <p:nvPr>
            <p:ph type="sldImg"/>
          </p:nvPr>
        </p:nvSpPr>
        <p:spPr>
          <a:ln/>
        </p:spPr>
      </p:sp>
      <p:sp>
        <p:nvSpPr>
          <p:cNvPr id="202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9143167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1"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34</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02" name="Rectangle 2"/>
          <p:cNvSpPr>
            <a:spLocks noGrp="1" noRot="1" noChangeAspect="1" noChangeArrowheads="1" noTextEdit="1"/>
          </p:cNvSpPr>
          <p:nvPr>
            <p:ph type="sldImg"/>
          </p:nvPr>
        </p:nvSpPr>
        <p:spPr>
          <a:ln/>
        </p:spPr>
      </p:sp>
      <p:sp>
        <p:nvSpPr>
          <p:cNvPr id="200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7462729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8"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35</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89" name="Rectangle 2"/>
          <p:cNvSpPr>
            <a:spLocks noGrp="1" noRot="1" noChangeAspect="1" noChangeArrowheads="1" noTextEdit="1"/>
          </p:cNvSpPr>
          <p:nvPr>
            <p:ph type="sldImg"/>
          </p:nvPr>
        </p:nvSpPr>
        <p:spPr>
          <a:ln/>
        </p:spPr>
      </p:sp>
      <p:sp>
        <p:nvSpPr>
          <p:cNvPr id="199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7384065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4"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36</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45" name="Rectangle 2"/>
          <p:cNvSpPr>
            <a:spLocks noGrp="1" noRot="1" noChangeAspect="1" noChangeArrowheads="1" noTextEdit="1"/>
          </p:cNvSpPr>
          <p:nvPr>
            <p:ph type="sldImg"/>
          </p:nvPr>
        </p:nvSpPr>
        <p:spPr>
          <a:ln/>
        </p:spPr>
      </p:sp>
      <p:sp>
        <p:nvSpPr>
          <p:cNvPr id="194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0748711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3"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37</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14" name="Rectangle 2"/>
          <p:cNvSpPr>
            <a:spLocks noGrp="1" noRot="1" noChangeAspect="1" noChangeArrowheads="1" noTextEdit="1"/>
          </p:cNvSpPr>
          <p:nvPr>
            <p:ph type="sldImg"/>
          </p:nvPr>
        </p:nvSpPr>
        <p:spPr>
          <a:ln/>
        </p:spPr>
      </p:sp>
      <p:sp>
        <p:nvSpPr>
          <p:cNvPr id="201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8900450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6"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38</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27" name="Rectangle 2"/>
          <p:cNvSpPr>
            <a:spLocks noGrp="1" noRot="1" noChangeAspect="1" noChangeArrowheads="1" noTextEdit="1"/>
          </p:cNvSpPr>
          <p:nvPr>
            <p:ph type="sldImg"/>
          </p:nvPr>
        </p:nvSpPr>
        <p:spPr>
          <a:ln/>
        </p:spPr>
      </p:sp>
      <p:sp>
        <p:nvSpPr>
          <p:cNvPr id="202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099765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30302">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9366" indent="-288218" defTabSz="930302">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2870"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4017"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5164"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6313"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7462"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8609"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9757"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30302"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30302" rtl="0" eaLnBrk="1" fontAlgn="base" latinLnBrk="0" hangingPunct="1">
                <a:lnSpc>
                  <a:spcPct val="100000"/>
                </a:lnSpc>
                <a:spcBef>
                  <a:spcPct val="0"/>
                </a:spcBef>
                <a:spcAft>
                  <a:spcPct val="0"/>
                </a:spcAft>
                <a:buClrTx/>
                <a:buSzTx/>
                <a:buFontTx/>
                <a:buNone/>
                <a:tabLst/>
                <a:defRPr/>
              </a:pPr>
              <a:t>5</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4713296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30302">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9366" indent="-288218" defTabSz="930302">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2870"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4017"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5164"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6313"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7462"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8609"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9757"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30302"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30302" rtl="0" eaLnBrk="1" fontAlgn="base" latinLnBrk="0" hangingPunct="1">
                <a:lnSpc>
                  <a:spcPct val="100000"/>
                </a:lnSpc>
                <a:spcBef>
                  <a:spcPct val="0"/>
                </a:spcBef>
                <a:spcAft>
                  <a:spcPct val="0"/>
                </a:spcAft>
                <a:buClrTx/>
                <a:buSzTx/>
                <a:buFontTx/>
                <a:buNone/>
                <a:tabLst/>
                <a:defRPr/>
              </a:pPr>
              <a:t>6</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2069640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30302">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9366" indent="-288218" defTabSz="930302">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2870"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4017"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5164" indent="-230574" defTabSz="930302">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6313"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7462"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8609"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9757" indent="-230574" defTabSz="930302"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30302"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30302" rtl="0" eaLnBrk="1" fontAlgn="base" latinLnBrk="0" hangingPunct="1">
                <a:lnSpc>
                  <a:spcPct val="100000"/>
                </a:lnSpc>
                <a:spcBef>
                  <a:spcPct val="0"/>
                </a:spcBef>
                <a:spcAft>
                  <a:spcPct val="0"/>
                </a:spcAft>
                <a:buClrTx/>
                <a:buSzTx/>
                <a:buFontTx/>
                <a:buNone/>
                <a:tabLst/>
                <a:defRPr/>
              </a:pPr>
              <a:t>7</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727924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 name="Rectangle 7"/>
          <p:cNvSpPr>
            <a:spLocks noGrp="1" noChangeArrowheads="1"/>
          </p:cNvSpPr>
          <p:nvPr>
            <p:ph type="sldNum" sz="quarter" idx="5"/>
          </p:nvPr>
        </p:nvSpPr>
        <p:spPr>
          <a:noFill/>
          <a:ln/>
        </p:spPr>
        <p:txBody>
          <a:bodyPr/>
          <a:lstStyle>
            <a:lvl1pPr defTabSz="92227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03" indent="-285732" defTabSz="92227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292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09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267"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438"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60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877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594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2278"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2278" rtl="0" eaLnBrk="1" fontAlgn="base" latinLnBrk="0" hangingPunct="1">
                <a:lnSpc>
                  <a:spcPct val="100000"/>
                </a:lnSpc>
                <a:spcBef>
                  <a:spcPct val="0"/>
                </a:spcBef>
                <a:spcAft>
                  <a:spcPct val="0"/>
                </a:spcAft>
                <a:buClrTx/>
                <a:buSzTx/>
                <a:buFontTx/>
                <a:buNone/>
                <a:tabLst/>
                <a:defRPr/>
              </a:pPr>
              <a:t>8</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70" name="Rectangle 2"/>
          <p:cNvSpPr>
            <a:spLocks noGrp="1" noRot="1" noChangeAspect="1" noChangeArrowheads="1" noTextEdit="1"/>
          </p:cNvSpPr>
          <p:nvPr>
            <p:ph type="sldImg"/>
          </p:nvPr>
        </p:nvSpPr>
        <p:spPr>
          <a:ln/>
        </p:spPr>
      </p:sp>
      <p:sp>
        <p:nvSpPr>
          <p:cNvPr id="127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7712759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4" name="Rectangle 7"/>
          <p:cNvSpPr>
            <a:spLocks noGrp="1" noChangeArrowheads="1"/>
          </p:cNvSpPr>
          <p:nvPr>
            <p:ph type="sldNum" sz="quarter" idx="5"/>
          </p:nvPr>
        </p:nvSpPr>
        <p:spPr>
          <a:noFill/>
          <a:ln/>
        </p:spPr>
        <p:txBody>
          <a:bodyPr/>
          <a:lstStyle>
            <a:lvl1pPr defTabSz="92227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03" indent="-285732" defTabSz="92227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292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09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267"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438"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60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877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594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2278"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2278" rtl="0" eaLnBrk="1" fontAlgn="base" latinLnBrk="0" hangingPunct="1">
                <a:lnSpc>
                  <a:spcPct val="100000"/>
                </a:lnSpc>
                <a:spcBef>
                  <a:spcPct val="0"/>
                </a:spcBef>
                <a:spcAft>
                  <a:spcPct val="0"/>
                </a:spcAft>
                <a:buClrTx/>
                <a:buSzTx/>
                <a:buFontTx/>
                <a:buNone/>
                <a:tabLst/>
                <a:defRPr/>
              </a:pPr>
              <a:t>9</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85" name="Rectangle 2"/>
          <p:cNvSpPr>
            <a:spLocks noGrp="1" noRot="1" noChangeAspect="1" noChangeArrowheads="1" noTextEdit="1"/>
          </p:cNvSpPr>
          <p:nvPr>
            <p:ph type="sldImg"/>
          </p:nvPr>
        </p:nvSpPr>
        <p:spPr>
          <a:ln/>
        </p:spPr>
      </p:sp>
      <p:sp>
        <p:nvSpPr>
          <p:cNvPr id="128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9818953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7" name="Rectangle 7"/>
          <p:cNvSpPr>
            <a:spLocks noGrp="1" noChangeArrowheads="1"/>
          </p:cNvSpPr>
          <p:nvPr>
            <p:ph type="sldNum" sz="quarter" idx="5"/>
          </p:nvPr>
        </p:nvSpPr>
        <p:spPr>
          <a:noFill/>
          <a:ln/>
        </p:spPr>
        <p:txBody>
          <a:bodyPr/>
          <a:lstStyle>
            <a:lvl1pPr defTabSz="922278">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03" indent="-285732" defTabSz="922278">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292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096"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267" indent="-228585" defTabSz="922278">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438"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60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877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5949" indent="-228585" defTabSz="922278"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2278"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2278" rtl="0" eaLnBrk="1" fontAlgn="base" latinLnBrk="0" hangingPunct="1">
                <a:lnSpc>
                  <a:spcPct val="100000"/>
                </a:lnSpc>
                <a:spcBef>
                  <a:spcPct val="0"/>
                </a:spcBef>
                <a:spcAft>
                  <a:spcPct val="0"/>
                </a:spcAft>
                <a:buClrTx/>
                <a:buSzTx/>
                <a:buFontTx/>
                <a:buNone/>
                <a:tabLst/>
                <a:defRPr/>
              </a:pPr>
              <a:t>10</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98" name="Rectangle 2"/>
          <p:cNvSpPr>
            <a:spLocks noGrp="1" noRot="1" noChangeAspect="1" noChangeArrowheads="1" noTextEdit="1"/>
          </p:cNvSpPr>
          <p:nvPr>
            <p:ph type="sldImg"/>
          </p:nvPr>
        </p:nvSpPr>
        <p:spPr>
          <a:ln/>
        </p:spPr>
      </p:sp>
      <p:sp>
        <p:nvSpPr>
          <p:cNvPr id="129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802697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031"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1032"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103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3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35"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19587465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088" name="タイトル 1"/>
          <p:cNvSpPr>
            <a:spLocks noGrp="1"/>
          </p:cNvSpPr>
          <p:nvPr>
            <p:ph type="title"/>
          </p:nvPr>
        </p:nvSpPr>
        <p:spPr/>
        <p:txBody>
          <a:bodyPr/>
          <a:lstStyle/>
          <a:p>
            <a:r>
              <a:rPr lang="ja-JP" altLang="en-US"/>
              <a:t>マスタ タイトルの書式設定</a:t>
            </a:r>
          </a:p>
        </p:txBody>
      </p:sp>
      <p:sp>
        <p:nvSpPr>
          <p:cNvPr id="1089"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2"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6004493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094"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1095"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8"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27423166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CD15BD-F2C0-2052-4C31-D50B1BF1BD87}"/>
              </a:ext>
            </a:extLst>
          </p:cNvPr>
          <p:cNvSpPr>
            <a:spLocks noGrp="1"/>
          </p:cNvSpPr>
          <p:nvPr>
            <p:ph type="ctrTitle"/>
          </p:nvPr>
        </p:nvSpPr>
        <p:spPr>
          <a:xfrm>
            <a:off x="1143000" y="1122363"/>
            <a:ext cx="6858000" cy="2387600"/>
          </a:xfrm>
        </p:spPr>
        <p:txBody>
          <a:bodyPr anchor="b"/>
          <a:lstStyle>
            <a:lvl1pPr algn="ctr">
              <a:defRPr sz="6000"/>
            </a:lvl1pPr>
          </a:lstStyle>
          <a:p>
            <a:r>
              <a:rPr kumimoji="1" lang="en-US"/>
              <a:t>Click to edit Master title style</a:t>
            </a:r>
          </a:p>
        </p:txBody>
      </p:sp>
      <p:sp>
        <p:nvSpPr>
          <p:cNvPr id="3" name="Subtitle 2">
            <a:extLst>
              <a:ext uri="{FF2B5EF4-FFF2-40B4-BE49-F238E27FC236}">
                <a16:creationId xmlns:a16="http://schemas.microsoft.com/office/drawing/2014/main" id="{9A3AF593-440E-EEAA-6B2A-26FAEFE592A7}"/>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t>Click to edit Master subtitle style</a:t>
            </a:r>
          </a:p>
        </p:txBody>
      </p:sp>
      <p:sp>
        <p:nvSpPr>
          <p:cNvPr id="4" name="Date Placeholder 3">
            <a:extLst>
              <a:ext uri="{FF2B5EF4-FFF2-40B4-BE49-F238E27FC236}">
                <a16:creationId xmlns:a16="http://schemas.microsoft.com/office/drawing/2014/main" id="{CADEE07F-BE87-5301-66B2-BE156D67845A}"/>
              </a:ext>
            </a:extLst>
          </p:cNvPr>
          <p:cNvSpPr>
            <a:spLocks noGrp="1"/>
          </p:cNvSpPr>
          <p:nvPr>
            <p:ph type="dt" sz="half" idx="10"/>
          </p:nvPr>
        </p:nvSpPr>
        <p:spPr/>
        <p:txBody>
          <a:bodyPr/>
          <a:lstStyle/>
          <a:p>
            <a:pPr fontAlgn="base">
              <a:spcBef>
                <a:spcPct val="0"/>
              </a:spcBef>
              <a:spcAft>
                <a:spcPct val="0"/>
              </a:spcAft>
              <a:defRPr/>
            </a:pPr>
            <a:endParaRPr lang="ja-JP" altLang="en-US"/>
          </a:p>
        </p:txBody>
      </p:sp>
      <p:sp>
        <p:nvSpPr>
          <p:cNvPr id="5" name="Footer Placeholder 4">
            <a:extLst>
              <a:ext uri="{FF2B5EF4-FFF2-40B4-BE49-F238E27FC236}">
                <a16:creationId xmlns:a16="http://schemas.microsoft.com/office/drawing/2014/main" id="{65D1DA0C-E0A3-ABB9-4114-2500B241872A}"/>
              </a:ext>
            </a:extLst>
          </p:cNvPr>
          <p:cNvSpPr>
            <a:spLocks noGrp="1"/>
          </p:cNvSpPr>
          <p:nvPr>
            <p:ph type="ftr" sz="quarter" idx="11"/>
          </p:nvPr>
        </p:nvSpPr>
        <p:spPr/>
        <p:txBody>
          <a:bodyPr/>
          <a:lstStyle/>
          <a:p>
            <a:pPr fontAlgn="base">
              <a:spcBef>
                <a:spcPct val="0"/>
              </a:spcBef>
              <a:spcAft>
                <a:spcPct val="0"/>
              </a:spcAft>
              <a:defRPr/>
            </a:pPr>
            <a:endParaRPr lang="ja-JP" altLang="en-US"/>
          </a:p>
        </p:txBody>
      </p:sp>
      <p:sp>
        <p:nvSpPr>
          <p:cNvPr id="6" name="Slide Number Placeholder 5">
            <a:extLst>
              <a:ext uri="{FF2B5EF4-FFF2-40B4-BE49-F238E27FC236}">
                <a16:creationId xmlns:a16="http://schemas.microsoft.com/office/drawing/2014/main" id="{5F309719-5EA0-1686-874A-DE9A4673B0BF}"/>
              </a:ext>
            </a:extLst>
          </p:cNvPr>
          <p:cNvSpPr>
            <a:spLocks noGrp="1"/>
          </p:cNvSpPr>
          <p:nvPr>
            <p:ph type="sldNum" sz="quarter" idx="12"/>
          </p:nvPr>
        </p:nvSpPr>
        <p:spPr/>
        <p:txBody>
          <a:bodyPr/>
          <a:lstStyle/>
          <a:p>
            <a:pPr fontAlgn="base">
              <a:spcBef>
                <a:spcPct val="0"/>
              </a:spcBef>
              <a:spcAft>
                <a:spcPct val="0"/>
              </a:spcAft>
              <a:defRPr/>
            </a:pPr>
            <a:fld id="{A6A5B751-25C4-46CC-8F2B-2AFF10021099}" type="slidenum">
              <a:rPr lang="ja-JP" altLang="en-US">
                <a:latin typeface="Arial" panose="020B0604020202020204" pitchFamily="34" charset="0"/>
              </a:rPr>
              <a:pPr fontAlgn="base">
                <a:spcBef>
                  <a:spcPct val="0"/>
                </a:spcBef>
                <a:spcAft>
                  <a:spcPct val="0"/>
                </a:spcAft>
                <a:defRPr/>
              </a:pPr>
              <a:t>‹#›</a:t>
            </a:fld>
            <a:endParaRPr lang="ja-JP" altLang="en-US">
              <a:latin typeface="Arial" panose="020B0604020202020204" pitchFamily="34" charset="0"/>
            </a:endParaRPr>
          </a:p>
        </p:txBody>
      </p:sp>
    </p:spTree>
    <p:extLst>
      <p:ext uri="{BB962C8B-B14F-4D97-AF65-F5344CB8AC3E}">
        <p14:creationId xmlns:p14="http://schemas.microsoft.com/office/powerpoint/2010/main" val="3594439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1031" name="Date Placeholder 2"/>
          <p:cNvSpPr>
            <a:spLocks noGrp="1"/>
          </p:cNvSpPr>
          <p:nvPr>
            <p:ph type="dt" sz="half" idx="10"/>
          </p:nvPr>
        </p:nvSpPr>
        <p:spPr>
          <a:xfrm>
            <a:off x="7258051" y="6443508"/>
            <a:ext cx="1111538" cy="115416"/>
          </a:xfrm>
          <a:prstGeom prst="rect">
            <a:avLst/>
          </a:prstGeom>
        </p:spPr>
        <p:txBody>
          <a:bodyPr/>
          <a:lstStyle>
            <a:lvl1pPr>
              <a:defRPr>
                <a:latin typeface="+mn-lt"/>
                <a:sym typeface="Trebuchet MS" panose="020B0603020202020204" pitchFamily="34" charset="0"/>
              </a:defRPr>
            </a:lvl1pPr>
          </a:lstStyle>
          <a:p>
            <a:endParaRPr lang="en-US"/>
          </a:p>
        </p:txBody>
      </p:sp>
      <p:sp>
        <p:nvSpPr>
          <p:cNvPr id="1032" name="Title 4"/>
          <p:cNvSpPr>
            <a:spLocks noGrp="1"/>
          </p:cNvSpPr>
          <p:nvPr>
            <p:ph type="title" hasCustomPrompt="1"/>
          </p:nvPr>
        </p:nvSpPr>
        <p:spPr>
          <a:xfrm>
            <a:off x="472500" y="6228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412985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1034" name="Title 1"/>
          <p:cNvSpPr>
            <a:spLocks noGrp="1"/>
          </p:cNvSpPr>
          <p:nvPr>
            <p:ph type="title" hasCustomPrompt="1"/>
          </p:nvPr>
        </p:nvSpPr>
        <p:spPr>
          <a:xfrm>
            <a:off x="472500" y="622800"/>
            <a:ext cx="8200013" cy="353174"/>
          </a:xfrm>
        </p:spPr>
        <p:txBody>
          <a:bodyPr/>
          <a:lstStyle>
            <a:lvl1pPr>
              <a:defRPr sz="2550"/>
            </a:lvl1pPr>
          </a:lstStyle>
          <a:p>
            <a:r>
              <a:rPr lang="en-US"/>
              <a:t>Click to add title</a:t>
            </a:r>
          </a:p>
        </p:txBody>
      </p:sp>
      <p:sp>
        <p:nvSpPr>
          <p:cNvPr id="1035" name="Text Placeholder 7"/>
          <p:cNvSpPr>
            <a:spLocks noGrp="1"/>
          </p:cNvSpPr>
          <p:nvPr>
            <p:ph type="body" sz="quarter" idx="10"/>
          </p:nvPr>
        </p:nvSpPr>
        <p:spPr>
          <a:xfrm>
            <a:off x="472050" y="2085629"/>
            <a:ext cx="8200351" cy="4089131"/>
          </a:xfrm>
        </p:spPr>
        <p:txBody>
          <a:bodyPr/>
          <a:lstStyle>
            <a:lvl1pPr>
              <a:lnSpc>
                <a:spcPct val="100000"/>
              </a:lnSpc>
              <a:spcBef>
                <a:spcPts val="0"/>
              </a:spcBef>
              <a:spcAft>
                <a:spcPts val="0"/>
              </a:spcAft>
              <a:defRPr sz="1500"/>
            </a:lvl1pPr>
            <a:lvl2pPr>
              <a:lnSpc>
                <a:spcPct val="100000"/>
              </a:lnSpc>
              <a:spcBef>
                <a:spcPts val="0"/>
              </a:spcBef>
              <a:spcAft>
                <a:spcPts val="0"/>
              </a:spcAft>
              <a:defRPr sz="1500"/>
            </a:lvl2pPr>
            <a:lvl3pPr>
              <a:lnSpc>
                <a:spcPct val="100000"/>
              </a:lnSpc>
              <a:spcBef>
                <a:spcPts val="0"/>
              </a:spcBef>
              <a:spcAft>
                <a:spcPts val="0"/>
              </a:spcAft>
              <a:defRPr sz="1500"/>
            </a:lvl3pPr>
            <a:lvl4pPr>
              <a:lnSpc>
                <a:spcPct val="100000"/>
              </a:lnSpc>
              <a:spcBef>
                <a:spcPts val="0"/>
              </a:spcBef>
              <a:spcAft>
                <a:spcPts val="0"/>
              </a:spcAft>
              <a:defRPr sz="2100"/>
            </a:lvl4pPr>
            <a:lvl5pPr>
              <a:lnSpc>
                <a:spcPct val="100000"/>
              </a:lnSpc>
              <a:spcBef>
                <a:spcPts val="0"/>
              </a:spcBef>
              <a:spcAft>
                <a:spcPts val="0"/>
              </a:spcAft>
              <a:defRPr sz="2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5029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103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38" name="Title 7"/>
          <p:cNvSpPr>
            <a:spLocks noGrp="1"/>
          </p:cNvSpPr>
          <p:nvPr>
            <p:ph type="title" hasCustomPrompt="1"/>
          </p:nvPr>
        </p:nvSpPr>
        <p:spPr>
          <a:xfrm>
            <a:off x="472500" y="622801"/>
            <a:ext cx="8200013" cy="2492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08174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1040" name="Title 1"/>
          <p:cNvSpPr>
            <a:spLocks noGrp="1"/>
          </p:cNvSpPr>
          <p:nvPr>
            <p:ph type="title" hasCustomPrompt="1"/>
          </p:nvPr>
        </p:nvSpPr>
        <p:spPr/>
        <p:txBody>
          <a:bodyPr/>
          <a:lstStyle/>
          <a:p>
            <a:r>
              <a:rPr lang="en-US"/>
              <a:t>Click to add title</a:t>
            </a:r>
          </a:p>
        </p:txBody>
      </p:sp>
      <p:sp>
        <p:nvSpPr>
          <p:cNvPr id="1041" name="Text Placeholder 5"/>
          <p:cNvSpPr>
            <a:spLocks noGrp="1"/>
          </p:cNvSpPr>
          <p:nvPr>
            <p:ph type="body" sz="quarter" idx="10"/>
          </p:nvPr>
        </p:nvSpPr>
        <p:spPr>
          <a:xfrm>
            <a:off x="472050" y="2085628"/>
            <a:ext cx="8200463"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159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007" name="タイトル 1"/>
          <p:cNvSpPr>
            <a:spLocks noGrp="1"/>
          </p:cNvSpPr>
          <p:nvPr>
            <p:ph type="title"/>
          </p:nvPr>
        </p:nvSpPr>
        <p:spPr/>
        <p:txBody>
          <a:bodyPr/>
          <a:lstStyle/>
          <a:p>
            <a:r>
              <a:rPr lang="ja-JP" altLang="en-US"/>
              <a:t>マスタ タイトルの書式設定</a:t>
            </a:r>
          </a:p>
        </p:txBody>
      </p:sp>
      <p:sp>
        <p:nvSpPr>
          <p:cNvPr id="200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200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201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201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15105509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1031"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32"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3 by Boston Consulting Group. All rights reserved.</a:t>
            </a:r>
          </a:p>
        </p:txBody>
      </p:sp>
      <p:sp>
        <p:nvSpPr>
          <p:cNvPr id="1033" name="Title 7"/>
          <p:cNvSpPr>
            <a:spLocks noGrp="1"/>
          </p:cNvSpPr>
          <p:nvPr>
            <p:ph type="title" hasCustomPrompt="1"/>
          </p:nvPr>
        </p:nvSpPr>
        <p:spPr>
          <a:xfrm>
            <a:off x="472500" y="622801"/>
            <a:ext cx="8200013" cy="2492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10555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3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2033781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43"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1044"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04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7"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3121066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49" name="タイトル 1"/>
          <p:cNvSpPr>
            <a:spLocks noGrp="1"/>
          </p:cNvSpPr>
          <p:nvPr>
            <p:ph type="title"/>
          </p:nvPr>
        </p:nvSpPr>
        <p:spPr/>
        <p:txBody>
          <a:bodyPr/>
          <a:lstStyle/>
          <a:p>
            <a:r>
              <a:rPr lang="ja-JP" altLang="en-US"/>
              <a:t>マスタ タイトルの書式設定</a:t>
            </a:r>
          </a:p>
        </p:txBody>
      </p:sp>
      <p:sp>
        <p:nvSpPr>
          <p:cNvPr id="1050"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1"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5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54"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12008444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56" name="タイトル 1"/>
          <p:cNvSpPr>
            <a:spLocks noGrp="1"/>
          </p:cNvSpPr>
          <p:nvPr>
            <p:ph type="title"/>
          </p:nvPr>
        </p:nvSpPr>
        <p:spPr/>
        <p:txBody>
          <a:bodyPr/>
          <a:lstStyle>
            <a:lvl1pPr>
              <a:defRPr/>
            </a:lvl1pPr>
          </a:lstStyle>
          <a:p>
            <a:r>
              <a:rPr lang="ja-JP" altLang="en-US"/>
              <a:t>マスタ タイトルの書式設定</a:t>
            </a:r>
          </a:p>
        </p:txBody>
      </p:sp>
      <p:sp>
        <p:nvSpPr>
          <p:cNvPr id="1057"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58"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9"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60"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3"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1780009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65" name="タイトル 1"/>
          <p:cNvSpPr>
            <a:spLocks noGrp="1"/>
          </p:cNvSpPr>
          <p:nvPr>
            <p:ph type="title"/>
          </p:nvPr>
        </p:nvSpPr>
        <p:spPr/>
        <p:txBody>
          <a:bodyPr/>
          <a:lstStyle/>
          <a:p>
            <a:r>
              <a:rPr lang="ja-JP" altLang="en-US"/>
              <a:t>マスタ タイトルの書式設定</a:t>
            </a:r>
          </a:p>
        </p:txBody>
      </p:sp>
      <p:sp>
        <p:nvSpPr>
          <p:cNvPr id="106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8"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713940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7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2"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3376456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74"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1075"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6"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9"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98948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81"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1082"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083"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8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8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86"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18285138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oleObject" Target="../embeddings/oleObject1.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3.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heme" Target="../theme/theme4.xml"/><Relationship Id="rId1" Type="http://schemas.openxmlformats.org/officeDocument/2006/relationships/slideLayout" Target="../slideLayouts/slideLayout18.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026"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7"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028"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029"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0" name="タイトル プレースホルダー 1"/>
          <p:cNvSpPr>
            <a:spLocks noGrp="1"/>
          </p:cNvSpPr>
          <p:nvPr>
            <p:ph type="title"/>
          </p:nvPr>
        </p:nvSpPr>
        <p:spPr>
          <a:xfrm>
            <a:off x="457200" y="274638"/>
            <a:ext cx="8229600" cy="1143000"/>
          </a:xfrm>
          <a:prstGeom prst="rect">
            <a:avLst/>
          </a:prstGeom>
          <a:noFill/>
          <a:ln>
            <a:noFill/>
          </a:ln>
        </p:spPr>
        <p:txBody>
          <a:bodyPr vert="horz" wrap="square" lIns="91346" tIns="45676" rIns="91346" bIns="45676" numCol="1" anchor="ctr" anchorCtr="0" compatLnSpc="1">
            <a:prstTxWarp prst="textNoShape">
              <a:avLst/>
            </a:prstTxWarp>
          </a:bodyPr>
          <a:lstStyle/>
          <a:p>
            <a:pPr lvl="0"/>
            <a:r>
              <a:rPr lang="ja-JP" altLang="en-US"/>
              <a:t>マスター タイトルの書式設定</a:t>
            </a:r>
          </a:p>
        </p:txBody>
      </p:sp>
      <p:sp>
        <p:nvSpPr>
          <p:cNvPr id="1101" name="テキスト プレースホルダー 2"/>
          <p:cNvSpPr>
            <a:spLocks noGrp="1"/>
          </p:cNvSpPr>
          <p:nvPr>
            <p:ph type="body" idx="1"/>
          </p:nvPr>
        </p:nvSpPr>
        <p:spPr>
          <a:xfrm>
            <a:off x="457200" y="1600203"/>
            <a:ext cx="8229600" cy="4525963"/>
          </a:xfrm>
          <a:prstGeom prst="rect">
            <a:avLst/>
          </a:prstGeom>
          <a:noFill/>
          <a:ln>
            <a:noFill/>
          </a:ln>
        </p:spPr>
        <p:txBody>
          <a:bodyPr vert="horz" wrap="square" lIns="91346" tIns="45676" rIns="91346" bIns="45676"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2" name="日付プレースホルダー 3"/>
          <p:cNvSpPr>
            <a:spLocks noGrp="1"/>
          </p:cNvSpPr>
          <p:nvPr>
            <p:ph type="dt" sz="half" idx="2"/>
          </p:nvPr>
        </p:nvSpPr>
        <p:spPr>
          <a:xfrm>
            <a:off x="457200" y="6356353"/>
            <a:ext cx="2133600" cy="365125"/>
          </a:xfrm>
          <a:prstGeom prst="rect">
            <a:avLst/>
          </a:prstGeom>
        </p:spPr>
        <p:txBody>
          <a:bodyPr vert="horz" lIns="91346" tIns="45676" rIns="91346" bIns="45676" rtlCol="0" anchor="ctr"/>
          <a:lstStyle>
            <a:lvl1pPr algn="l"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3" name="フッター プレースホルダー 4"/>
          <p:cNvSpPr>
            <a:spLocks noGrp="1"/>
          </p:cNvSpPr>
          <p:nvPr>
            <p:ph type="ftr" sz="quarter" idx="3"/>
          </p:nvPr>
        </p:nvSpPr>
        <p:spPr>
          <a:xfrm>
            <a:off x="3124200" y="6356353"/>
            <a:ext cx="2895600" cy="365125"/>
          </a:xfrm>
          <a:prstGeom prst="rect">
            <a:avLst/>
          </a:prstGeom>
        </p:spPr>
        <p:txBody>
          <a:bodyPr vert="horz" lIns="91346" tIns="45676" rIns="91346" bIns="45676" rtlCol="0" anchor="ctr"/>
          <a:lstStyle>
            <a:lvl1pPr algn="ctr"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4" name="スライド番号プレースホルダー 5"/>
          <p:cNvSpPr>
            <a:spLocks noGrp="1"/>
          </p:cNvSpPr>
          <p:nvPr>
            <p:ph type="sldNum" sz="quarter" idx="4"/>
          </p:nvPr>
        </p:nvSpPr>
        <p:spPr>
          <a:xfrm>
            <a:off x="6553200" y="6356353"/>
            <a:ext cx="2133600" cy="365125"/>
          </a:xfrm>
          <a:prstGeom prst="rect">
            <a:avLst/>
          </a:prstGeom>
        </p:spPr>
        <p:txBody>
          <a:bodyPr vert="horz" wrap="square" lIns="91346" tIns="45676" rIns="91346" bIns="45676" numCol="1" anchor="ctr" anchorCtr="0" compatLnSpc="1">
            <a:prstTxWarp prst="textNoShape">
              <a:avLst/>
            </a:prstTxWarp>
          </a:bodyPr>
          <a:lstStyle>
            <a:lvl1pPr algn="r" eaLnBrk="1" hangingPunct="1">
              <a:defRPr sz="1108">
                <a:solidFill>
                  <a:srgbClr val="898989"/>
                </a:solidFill>
              </a:defRPr>
            </a:lvl1pPr>
          </a:lstStyle>
          <a:p>
            <a:pPr fontAlgn="base">
              <a:spcBef>
                <a:spcPct val="0"/>
              </a:spcBef>
              <a:spcAft>
                <a:spcPct val="0"/>
              </a:spcAft>
              <a:defRPr/>
            </a:pPr>
            <a:fld id="{A6A5B751-25C4-46CC-8F2B-2AFF10021099}" type="slidenum">
              <a:rPr lang="ja-JP" altLang="en-US">
                <a:latin typeface="Arial" panose="020B0604020202020204" pitchFamily="34" charset="0"/>
              </a:rPr>
              <a:pPr fontAlgn="base">
                <a:spcBef>
                  <a:spcPct val="0"/>
                </a:spcBef>
                <a:spcAft>
                  <a:spcPct val="0"/>
                </a:spcAft>
                <a:defRPr/>
              </a:pPr>
              <a:t>‹#›</a:t>
            </a:fld>
            <a:endParaRPr lang="ja-JP" altLang="en-US">
              <a:latin typeface="Arial" panose="020B0604020202020204" pitchFamily="34" charset="0"/>
            </a:endParaRPr>
          </a:p>
        </p:txBody>
      </p:sp>
    </p:spTree>
    <p:extLst>
      <p:ext uri="{BB962C8B-B14F-4D97-AF65-F5344CB8AC3E}">
        <p14:creationId xmlns:p14="http://schemas.microsoft.com/office/powerpoint/2010/main" val="4246866677"/>
      </p:ext>
    </p:extLst>
  </p:cSld>
  <p:clrMap bg1="lt1" tx1="dk1" bg2="lt2" tx2="dk2" accent1="accent1" accent2="accent2" accent3="accent3" accent4="accent4" accent5="accent5" accent6="accent6" hlink="hlink" folHlink="folHlink"/>
  <p:sldLayoutIdLst>
    <p:sldLayoutId id="2147483661"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842613" rtl="0" eaLnBrk="0" fontAlgn="base" hangingPunct="0">
        <a:spcBef>
          <a:spcPct val="0"/>
        </a:spcBef>
        <a:spcAft>
          <a:spcPct val="0"/>
        </a:spcAft>
        <a:defRPr kumimoji="1" sz="4062" kern="1200">
          <a:solidFill>
            <a:schemeClr val="tx1"/>
          </a:solidFill>
          <a:latin typeface="+mj-lt"/>
          <a:ea typeface="+mj-ea"/>
          <a:cs typeface="+mj-cs"/>
        </a:defRPr>
      </a:lvl1pPr>
      <a:lvl2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2pPr>
      <a:lvl3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3pPr>
      <a:lvl4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4pPr>
      <a:lvl5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5pPr>
      <a:lvl6pPr marL="422039"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6pPr>
      <a:lvl7pPr marL="844078"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7pPr>
      <a:lvl8pPr marL="1266117"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8pPr>
      <a:lvl9pPr marL="1688155"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9pPr>
    </p:titleStyle>
    <p:bodyStyle>
      <a:lvl1pPr marL="315064" indent="-315064" algn="l" defTabSz="842613" rtl="0" eaLnBrk="0" fontAlgn="base" hangingPunct="0">
        <a:spcBef>
          <a:spcPct val="20000"/>
        </a:spcBef>
        <a:spcAft>
          <a:spcPct val="0"/>
        </a:spcAft>
        <a:buFont typeface="Arial" panose="020B0604020202020204" pitchFamily="34" charset="0"/>
        <a:buChar char="•"/>
        <a:defRPr kumimoji="1" sz="2954" kern="1200">
          <a:solidFill>
            <a:schemeClr val="tx1"/>
          </a:solidFill>
          <a:latin typeface="+mn-lt"/>
          <a:ea typeface="+mn-ea"/>
          <a:cs typeface="+mn-cs"/>
        </a:defRPr>
      </a:lvl1pPr>
      <a:lvl2pPr marL="684348" indent="-262310" algn="l" defTabSz="842613" rtl="0" eaLnBrk="0" fontAlgn="base" hangingPunct="0">
        <a:spcBef>
          <a:spcPct val="20000"/>
        </a:spcBef>
        <a:spcAft>
          <a:spcPct val="0"/>
        </a:spcAft>
        <a:buFont typeface="Arial" panose="020B0604020202020204" pitchFamily="34" charset="0"/>
        <a:buChar char="–"/>
        <a:defRPr kumimoji="1" sz="2585" kern="1200">
          <a:solidFill>
            <a:schemeClr val="tx1"/>
          </a:solidFill>
          <a:latin typeface="+mn-lt"/>
          <a:ea typeface="+mn-ea"/>
          <a:cs typeface="+mn-cs"/>
        </a:defRPr>
      </a:lvl2pPr>
      <a:lvl3pPr marL="1053632" indent="-209555" algn="l" defTabSz="842613" rtl="0" eaLnBrk="0" fontAlgn="base" hangingPunct="0">
        <a:spcBef>
          <a:spcPct val="20000"/>
        </a:spcBef>
        <a:spcAft>
          <a:spcPct val="0"/>
        </a:spcAft>
        <a:buFont typeface="Arial" panose="020B0604020202020204" pitchFamily="34" charset="0"/>
        <a:buChar char="•"/>
        <a:defRPr kumimoji="1" sz="2215" kern="1200">
          <a:solidFill>
            <a:schemeClr val="tx1"/>
          </a:solidFill>
          <a:latin typeface="+mn-lt"/>
          <a:ea typeface="+mn-ea"/>
          <a:cs typeface="+mn-cs"/>
        </a:defRPr>
      </a:lvl3pPr>
      <a:lvl4pPr marL="1474205"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4pPr>
      <a:lvl5pPr marL="1896244"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5pPr>
      <a:lvl6pPr marL="2318873"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0485"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2097"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3708"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3227" rtl="0" eaLnBrk="1" latinLnBrk="0" hangingPunct="1">
        <a:defRPr kumimoji="1" sz="1662" kern="1200">
          <a:solidFill>
            <a:schemeClr val="tx1"/>
          </a:solidFill>
          <a:latin typeface="+mn-lt"/>
          <a:ea typeface="+mn-ea"/>
          <a:cs typeface="+mn-cs"/>
        </a:defRPr>
      </a:lvl1pPr>
      <a:lvl2pPr marL="421614" algn="l" defTabSz="843227" rtl="0" eaLnBrk="1" latinLnBrk="0" hangingPunct="1">
        <a:defRPr kumimoji="1" sz="1662" kern="1200">
          <a:solidFill>
            <a:schemeClr val="tx1"/>
          </a:solidFill>
          <a:latin typeface="+mn-lt"/>
          <a:ea typeface="+mn-ea"/>
          <a:cs typeface="+mn-cs"/>
        </a:defRPr>
      </a:lvl2pPr>
      <a:lvl3pPr marL="843227" algn="l" defTabSz="843227" rtl="0" eaLnBrk="1" latinLnBrk="0" hangingPunct="1">
        <a:defRPr kumimoji="1" sz="1662" kern="1200">
          <a:solidFill>
            <a:schemeClr val="tx1"/>
          </a:solidFill>
          <a:latin typeface="+mn-lt"/>
          <a:ea typeface="+mn-ea"/>
          <a:cs typeface="+mn-cs"/>
        </a:defRPr>
      </a:lvl3pPr>
      <a:lvl4pPr marL="1264838" algn="l" defTabSz="843227" rtl="0" eaLnBrk="1" latinLnBrk="0" hangingPunct="1">
        <a:defRPr kumimoji="1" sz="1662" kern="1200">
          <a:solidFill>
            <a:schemeClr val="tx1"/>
          </a:solidFill>
          <a:latin typeface="+mn-lt"/>
          <a:ea typeface="+mn-ea"/>
          <a:cs typeface="+mn-cs"/>
        </a:defRPr>
      </a:lvl4pPr>
      <a:lvl5pPr marL="1686453" algn="l" defTabSz="843227" rtl="0" eaLnBrk="1" latinLnBrk="0" hangingPunct="1">
        <a:defRPr kumimoji="1" sz="1662" kern="1200">
          <a:solidFill>
            <a:schemeClr val="tx1"/>
          </a:solidFill>
          <a:latin typeface="+mn-lt"/>
          <a:ea typeface="+mn-ea"/>
          <a:cs typeface="+mn-cs"/>
        </a:defRPr>
      </a:lvl5pPr>
      <a:lvl6pPr marL="2108063" algn="l" defTabSz="843227" rtl="0" eaLnBrk="1" latinLnBrk="0" hangingPunct="1">
        <a:defRPr kumimoji="1" sz="1662" kern="1200">
          <a:solidFill>
            <a:schemeClr val="tx1"/>
          </a:solidFill>
          <a:latin typeface="+mn-lt"/>
          <a:ea typeface="+mn-ea"/>
          <a:cs typeface="+mn-cs"/>
        </a:defRPr>
      </a:lvl6pPr>
      <a:lvl7pPr marL="2529676" algn="l" defTabSz="843227" rtl="0" eaLnBrk="1" latinLnBrk="0" hangingPunct="1">
        <a:defRPr kumimoji="1" sz="1662" kern="1200">
          <a:solidFill>
            <a:schemeClr val="tx1"/>
          </a:solidFill>
          <a:latin typeface="+mn-lt"/>
          <a:ea typeface="+mn-ea"/>
          <a:cs typeface="+mn-cs"/>
        </a:defRPr>
      </a:lvl7pPr>
      <a:lvl8pPr marL="2951289" algn="l" defTabSz="843227" rtl="0" eaLnBrk="1" latinLnBrk="0" hangingPunct="1">
        <a:defRPr kumimoji="1" sz="1662" kern="1200">
          <a:solidFill>
            <a:schemeClr val="tx1"/>
          </a:solidFill>
          <a:latin typeface="+mn-lt"/>
          <a:ea typeface="+mn-ea"/>
          <a:cs typeface="+mn-cs"/>
        </a:defRPr>
      </a:lvl8pPr>
      <a:lvl9pPr marL="3372906" algn="l" defTabSz="843227" rtl="0" eaLnBrk="1" latinLnBrk="0" hangingPunct="1">
        <a:defRPr kumimoji="1"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5" name="Object 1" hidden="1"/>
          <p:cNvGraphicFramePr>
            <a:graphicFrameLocks noChangeAspect="1"/>
          </p:cNvGraphicFramePr>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スライド" r:id="rId7" imgW="270" imgH="270" progId="TCLayout.ActiveDocument.1">
                  <p:embed/>
                </p:oleObj>
              </mc:Choice>
              <mc:Fallback>
                <p:oleObj name="think-cell スライド" r:id="rId7" imgW="270" imgH="270" progId="TCLayout.ActiveDocument.1">
                  <p:embed/>
                  <p:pic>
                    <p:nvPicPr>
                      <p:cNvPr id="1025" name="Object 1" hidden="1"/>
                      <p:cNvPicPr>
                        <a:picLocks noChangeAspect="1"/>
                      </p:cNvPicPr>
                      <p:nvPr/>
                    </p:nvPicPr>
                    <p:blipFill>
                      <a:blip r:embed="rId8"/>
                      <a:stretch>
                        <a:fillRect/>
                      </a:stretch>
                    </p:blipFill>
                    <p:spPr>
                      <a:xfrm>
                        <a:off x="1192" y="1589"/>
                        <a:ext cx="1190" cy="1587"/>
                      </a:xfrm>
                      <a:prstGeom prst="rect">
                        <a:avLst/>
                      </a:prstGeom>
                    </p:spPr>
                  </p:pic>
                </p:oleObj>
              </mc:Fallback>
            </mc:AlternateContent>
          </a:graphicData>
        </a:graphic>
      </p:graphicFrame>
      <p:sp>
        <p:nvSpPr>
          <p:cNvPr id="1026"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027" name="TextBox 11"/>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028" name="Title Placeholder 1"/>
          <p:cNvSpPr>
            <a:spLocks noGrp="1"/>
          </p:cNvSpPr>
          <p:nvPr>
            <p:ph type="title"/>
          </p:nvPr>
        </p:nvSpPr>
        <p:spPr>
          <a:xfrm>
            <a:off x="472500" y="622801"/>
            <a:ext cx="8200013" cy="249299"/>
          </a:xfrm>
          <a:prstGeom prst="rect">
            <a:avLst/>
          </a:prstGeom>
        </p:spPr>
        <p:txBody>
          <a:bodyPr vert="horz" wrap="square" lIns="0" tIns="0" rIns="0" bIns="0" rtlCol="0" anchor="t">
            <a:spAutoFit/>
          </a:bodyPr>
          <a:lstStyle/>
          <a:p>
            <a:r>
              <a:rPr lang="en-US"/>
              <a:t>Click to add title</a:t>
            </a:r>
          </a:p>
        </p:txBody>
      </p:sp>
      <p:sp>
        <p:nvSpPr>
          <p:cNvPr id="1029" name="Text Placeholder 3"/>
          <p:cNvSpPr>
            <a:spLocks noGrp="1"/>
          </p:cNvSpPr>
          <p:nvPr>
            <p:ph type="body" idx="1"/>
          </p:nvPr>
        </p:nvSpPr>
        <p:spPr>
          <a:xfrm>
            <a:off x="472500" y="1825625"/>
            <a:ext cx="8200013"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5888228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chemeClr val="tx2"/>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5" name="Object 1" hidden="1"/>
          <p:cNvGraphicFramePr>
            <a:graphicFrameLocks noChangeAspect="1"/>
          </p:cNvGraphicFramePr>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1025" name="Object 1" hidden="1"/>
                      <p:cNvPicPr>
                        <a:picLocks noChangeAspect="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026"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a:p>
        </p:txBody>
      </p:sp>
      <p:sp>
        <p:nvSpPr>
          <p:cNvPr id="1027" name="TextBox 11"/>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028" name="Title Placeholder 1"/>
          <p:cNvSpPr>
            <a:spLocks noGrp="1"/>
          </p:cNvSpPr>
          <p:nvPr>
            <p:ph type="title"/>
          </p:nvPr>
        </p:nvSpPr>
        <p:spPr>
          <a:xfrm>
            <a:off x="472500" y="622801"/>
            <a:ext cx="8200013" cy="249299"/>
          </a:xfrm>
          <a:prstGeom prst="rect">
            <a:avLst/>
          </a:prstGeom>
        </p:spPr>
        <p:txBody>
          <a:bodyPr vert="horz" wrap="square" lIns="0" tIns="0" rIns="0" bIns="0" rtlCol="0" anchor="t">
            <a:spAutoFit/>
          </a:bodyPr>
          <a:lstStyle/>
          <a:p>
            <a:r>
              <a:rPr lang="en-US"/>
              <a:t>Click to add title</a:t>
            </a:r>
          </a:p>
        </p:txBody>
      </p:sp>
      <p:sp>
        <p:nvSpPr>
          <p:cNvPr id="1029" name="Text Placeholder 3"/>
          <p:cNvSpPr>
            <a:spLocks noGrp="1"/>
          </p:cNvSpPr>
          <p:nvPr>
            <p:ph type="body" idx="1"/>
          </p:nvPr>
        </p:nvSpPr>
        <p:spPr>
          <a:xfrm>
            <a:off x="472500" y="1825625"/>
            <a:ext cx="8200013"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628435854"/>
      </p:ext>
    </p:extLst>
  </p:cSld>
  <p:clrMap bg1="lt1" tx1="dk1" bg2="lt2" tx2="dk2" accent1="accent1" accent2="accent2" accent3="accent3" accent4="accent4" accent5="accent5" accent6="accent6" hlink="hlink" folHlink="folHlink"/>
  <p:sldLayoutIdLst>
    <p:sldLayoutId id="2147483669" r:id="rId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chemeClr val="tx2"/>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3" name="表 3"/>
          <p:cNvGraphicFramePr>
            <a:graphicFrameLocks noGrp="1"/>
          </p:cNvGraphicFramePr>
          <p:nvPr/>
        </p:nvGraphicFramePr>
        <p:xfrm>
          <a:off x="257521" y="1609804"/>
          <a:ext cx="8349928" cy="3979196"/>
        </p:xfrm>
        <a:graphic>
          <a:graphicData uri="http://schemas.openxmlformats.org/drawingml/2006/table">
            <a:tbl>
              <a:tblPr>
                <a:tableStyleId>{073A0DAA-6AF3-43AB-8588-CEC1D06C72B9}</a:tableStyleId>
              </a:tblPr>
              <a:tblGrid>
                <a:gridCol w="800625">
                  <a:extLst>
                    <a:ext uri="{9D8B030D-6E8A-4147-A177-3AD203B41FA5}">
                      <a16:colId xmlns:a16="http://schemas.microsoft.com/office/drawing/2014/main" val="20000"/>
                    </a:ext>
                  </a:extLst>
                </a:gridCol>
                <a:gridCol w="3985627">
                  <a:extLst>
                    <a:ext uri="{9D8B030D-6E8A-4147-A177-3AD203B41FA5}">
                      <a16:colId xmlns:a16="http://schemas.microsoft.com/office/drawing/2014/main" val="20001"/>
                    </a:ext>
                  </a:extLst>
                </a:gridCol>
                <a:gridCol w="3563676">
                  <a:extLst>
                    <a:ext uri="{9D8B030D-6E8A-4147-A177-3AD203B41FA5}">
                      <a16:colId xmlns:a16="http://schemas.microsoft.com/office/drawing/2014/main" val="20002"/>
                    </a:ext>
                  </a:extLst>
                </a:gridCol>
              </a:tblGrid>
              <a:tr h="399887">
                <a:tc rowSpan="3">
                  <a:txBody>
                    <a:bodyPr/>
                    <a:lstStyle/>
                    <a:p>
                      <a:pPr algn="ctr">
                        <a:spcAft>
                          <a:spcPts val="0"/>
                        </a:spcAft>
                      </a:pPr>
                      <a:r>
                        <a:rPr kumimoji="1" lang="ja-JP" sz="1200" kern="1200">
                          <a:solidFill>
                            <a:schemeClr val="tx1"/>
                          </a:solidFill>
                          <a:latin typeface="+mn-ea"/>
                          <a:ea typeface="+mn-ea"/>
                          <a:cs typeface="+mn-cs"/>
                        </a:rPr>
                        <a:t>申請者</a:t>
                      </a:r>
                    </a:p>
                  </a:txBody>
                  <a:tcPr marL="54002" marR="54002" marT="0" marB="0" vert="eaVert" anchor="ctr"/>
                </a:tc>
                <a:tc>
                  <a:txBody>
                    <a:bodyPr/>
                    <a:lstStyle/>
                    <a:p>
                      <a:pPr algn="just">
                        <a:spcAft>
                          <a:spcPts val="0"/>
                        </a:spcAft>
                      </a:pPr>
                      <a:r>
                        <a:rPr kumimoji="1" lang="ja-JP" sz="1200" kern="1200">
                          <a:solidFill>
                            <a:schemeClr val="tx1"/>
                          </a:solidFill>
                          <a:latin typeface="+mn-ea"/>
                          <a:ea typeface="+mn-ea"/>
                          <a:cs typeface="+mn-cs"/>
                        </a:rPr>
                        <a:t>企業・団体名</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0"/>
                  </a:ext>
                </a:extLst>
              </a:tr>
              <a:tr h="505039">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n-ea"/>
                          <a:ea typeface="+mn-ea"/>
                          <a:cs typeface="+mn-cs"/>
                        </a:rPr>
                        <a:t>代表者役職・氏名</a:t>
                      </a:r>
                    </a:p>
                  </a:txBody>
                  <a:tcPr marL="54002" marR="54002" marT="0" marB="0" anchor="ctr"/>
                </a:tc>
                <a:tc>
                  <a:txBody>
                    <a:bodyPr/>
                    <a:lstStyle/>
                    <a:p>
                      <a:pPr algn="just">
                        <a:spcAft>
                          <a:spcPts val="0"/>
                        </a:spcAft>
                      </a:pPr>
                      <a:r>
                        <a:rPr lang="en-US" sz="900" u="none" strike="noStrike"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1"/>
                  </a:ext>
                </a:extLst>
              </a:tr>
              <a:tr h="431065">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n-ea"/>
                          <a:ea typeface="+mn-ea"/>
                          <a:cs typeface="+mn-cs"/>
                        </a:rPr>
                        <a:t>所在地</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2"/>
                  </a:ext>
                </a:extLst>
              </a:tr>
              <a:tr h="528641">
                <a:tc rowSpan="5">
                  <a:txBody>
                    <a:bodyPr/>
                    <a:lstStyle/>
                    <a:p>
                      <a:pPr algn="ctr">
                        <a:spcAft>
                          <a:spcPts val="0"/>
                        </a:spcAft>
                      </a:pPr>
                      <a:r>
                        <a:rPr kumimoji="1" lang="ja-JP" sz="1200" kern="1200">
                          <a:solidFill>
                            <a:schemeClr val="tx1"/>
                          </a:solidFill>
                          <a:latin typeface="+mn-ea"/>
                          <a:ea typeface="+mn-ea"/>
                          <a:cs typeface="+mn-cs"/>
                        </a:rPr>
                        <a:t>連絡担当窓口</a:t>
                      </a:r>
                    </a:p>
                  </a:txBody>
                  <a:tcPr marL="54002" marR="54002" marT="0" marB="0" vert="eaVert" anchor="ctr"/>
                </a:tc>
                <a:tc>
                  <a:txBody>
                    <a:bodyPr/>
                    <a:lstStyle/>
                    <a:p>
                      <a:pPr algn="just">
                        <a:spcAft>
                          <a:spcPts val="0"/>
                        </a:spcAft>
                      </a:pPr>
                      <a:r>
                        <a:rPr kumimoji="1" lang="ja-JP" sz="1200" kern="1200">
                          <a:solidFill>
                            <a:schemeClr val="tx1"/>
                          </a:solidFill>
                          <a:latin typeface="+mn-ea"/>
                          <a:ea typeface="+mn-ea"/>
                          <a:cs typeface="+mn-cs"/>
                        </a:rPr>
                        <a:t>氏名（ふりがな）</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3"/>
                  </a:ext>
                </a:extLst>
              </a:tr>
              <a:tr h="52864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n-ea"/>
                          <a:ea typeface="+mn-ea"/>
                          <a:cs typeface="+mn-cs"/>
                        </a:rPr>
                        <a:t>所属（部署名）</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4"/>
                  </a:ext>
                </a:extLst>
              </a:tr>
              <a:tr h="52864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n-ea"/>
                          <a:ea typeface="+mn-ea"/>
                          <a:cs typeface="+mn-cs"/>
                        </a:rPr>
                        <a:t>役職</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5"/>
                  </a:ext>
                </a:extLst>
              </a:tr>
              <a:tr h="52864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n-ea"/>
                          <a:ea typeface="+mn-ea"/>
                          <a:cs typeface="+mn-cs"/>
                        </a:rPr>
                        <a:t>電話番号</a:t>
                      </a:r>
                    </a:p>
                    <a:p>
                      <a:pPr algn="just">
                        <a:spcAft>
                          <a:spcPts val="0"/>
                        </a:spcAft>
                      </a:pPr>
                      <a:r>
                        <a:rPr kumimoji="1" lang="ja-JP" sz="1200" kern="1200">
                          <a:solidFill>
                            <a:schemeClr val="tx1"/>
                          </a:solidFill>
                          <a:latin typeface="+mn-ea"/>
                          <a:ea typeface="+mn-ea"/>
                          <a:cs typeface="+mn-cs"/>
                        </a:rPr>
                        <a:t>（代表・直通）</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6"/>
                  </a:ext>
                </a:extLst>
              </a:tr>
              <a:tr h="528641">
                <a:tc vMerge="1">
                  <a:txBody>
                    <a:bodyPr/>
                    <a:lstStyle/>
                    <a:p>
                      <a:endParaRPr kumimoji="1" lang="ja-JP" altLang="en-US"/>
                    </a:p>
                  </a:txBody>
                  <a:tcPr/>
                </a:tc>
                <a:tc>
                  <a:txBody>
                    <a:bodyPr/>
                    <a:lstStyle/>
                    <a:p>
                      <a:pPr algn="just">
                        <a:spcAft>
                          <a:spcPts val="0"/>
                        </a:spcAft>
                      </a:pPr>
                      <a:r>
                        <a:rPr kumimoji="1" lang="ja-JP" sz="1200" kern="1200">
                          <a:solidFill>
                            <a:schemeClr val="tx1"/>
                          </a:solidFill>
                          <a:latin typeface="+mn-ea"/>
                          <a:ea typeface="+mn-ea"/>
                          <a:cs typeface="+mn-cs"/>
                        </a:rPr>
                        <a:t>Ｅ－ｍａｉｌ</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7"/>
                  </a:ext>
                </a:extLst>
              </a:tr>
            </a:tbl>
          </a:graphicData>
        </a:graphic>
      </p:graphicFrame>
      <p:sp>
        <p:nvSpPr>
          <p:cNvPr id="1224" name="Rectangle 67"/>
          <p:cNvSpPr>
            <a:spLocks noChangeArrowheads="1"/>
          </p:cNvSpPr>
          <p:nvPr/>
        </p:nvSpPr>
        <p:spPr>
          <a:xfrm>
            <a:off x="0" y="452899"/>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申請者情報　</a:t>
            </a:r>
          </a:p>
        </p:txBody>
      </p:sp>
      <p:sp>
        <p:nvSpPr>
          <p:cNvPr id="1226" name="テキスト 981"/>
          <p:cNvSpPr txBox="1"/>
          <p:nvPr/>
        </p:nvSpPr>
        <p:spPr>
          <a:xfrm>
            <a:off x="0" y="45357"/>
            <a:ext cx="7164000" cy="400110"/>
          </a:xfrm>
          <a:prstGeom prst="rect">
            <a:avLst/>
          </a:prstGeom>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20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別紙３－１　令和７年度スマートシティ関連事業応募様式 </a:t>
            </a:r>
            <a:endParaRPr kumimoji="1" sz="20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27" name="正方形/長方形 1001"/>
          <p:cNvSpPr/>
          <p:nvPr/>
        </p:nvSpPr>
        <p:spPr>
          <a:xfrm>
            <a:off x="7452320" y="560723"/>
            <a:ext cx="1057206" cy="34827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2" name="正方形/長方形 1"/>
          <p:cNvSpPr/>
          <p:nvPr/>
        </p:nvSpPr>
        <p:spPr>
          <a:xfrm>
            <a:off x="8646013" y="548680"/>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52392E7D-201D-4775-BD8E-96CC5C3B8B7B}" type="slidenum">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1</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6347490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8"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289" name="Rectangle 67"/>
          <p:cNvSpPr>
            <a:spLocks noChangeArrowheads="1"/>
          </p:cNvSpPr>
          <p:nvPr/>
        </p:nvSpPr>
        <p:spPr>
          <a:xfrm>
            <a:off x="0" y="0"/>
            <a:ext cx="9144000" cy="573088"/>
          </a:xfrm>
          <a:prstGeom prst="rect">
            <a:avLst/>
          </a:prstGeom>
          <a:solidFill>
            <a:schemeClr val="tx1"/>
          </a:solidFill>
          <a:ln>
            <a:noFill/>
          </a:ln>
        </p:spPr>
        <p:txBody>
          <a:bodyPr lIns="91440" tIns="45720" rIns="91440" bIns="45720"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７．都市マネジメント（ビジネスモデル）</a:t>
            </a:r>
            <a:endPar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90" name="Text Box 4"/>
          <p:cNvSpPr txBox="1">
            <a:spLocks noChangeArrowheads="1"/>
          </p:cNvSpPr>
          <p:nvPr/>
        </p:nvSpPr>
        <p:spPr>
          <a:xfrm>
            <a:off x="0" y="580618"/>
            <a:ext cx="3884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ビジネスモデル（費用分担等）</a:t>
            </a:r>
          </a:p>
        </p:txBody>
      </p:sp>
      <p:sp>
        <p:nvSpPr>
          <p:cNvPr id="1291" name="正方形/長方形 18"/>
          <p:cNvSpPr/>
          <p:nvPr/>
        </p:nvSpPr>
        <p:spPr>
          <a:xfrm>
            <a:off x="56888" y="2807291"/>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sysClr val="windowText" lastClr="000000"/>
              </a:solidFill>
              <a:effectLst/>
              <a:uLnTx/>
              <a:uFillTx/>
              <a:latin typeface="Arial"/>
              <a:ea typeface="ＭＳ Ｐゴシック"/>
              <a:cs typeface="+mn-cs"/>
            </a:endParaRPr>
          </a:p>
        </p:txBody>
      </p:sp>
      <p:sp>
        <p:nvSpPr>
          <p:cNvPr id="1292" name="正方形/長方形 22"/>
          <p:cNvSpPr/>
          <p:nvPr/>
        </p:nvSpPr>
        <p:spPr>
          <a:xfrm>
            <a:off x="150080" y="1019036"/>
            <a:ext cx="8712285" cy="95410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社会実装した際に、持続可能な取組とするために工夫する点や公民で役割分担していることをモデル化して説明</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提案内容のうち、ビジネスモデルの構築・実行や住民を巻き込んだ地域の運営・施策の提供（スマートシティビジネス）など、「スマートシティリファレンスアーキテクチャ」において「都市マネジメント」と整理されている事項について、ホワイトペーパー第５章を参照し、記載すること</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294" name="正方形/長方形 674"/>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295" name="テキスト 673"/>
          <p:cNvSpPr txBox="1"/>
          <p:nvPr/>
        </p:nvSpPr>
        <p:spPr>
          <a:xfrm>
            <a:off x="2990356" y="572972"/>
            <a:ext cx="6155841" cy="306884"/>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rPr>
              <a:t>※応募事業に関連のない場合は記載しなくても良い（詳細は別紙２参照）</a:t>
            </a: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7B2B1164-1CCC-4BDC-B3EA-06B0DFE2D574}"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10</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2156100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1" name="Rectangle 66"/>
          <p:cNvSpPr>
            <a:spLocks noChangeArrowheads="1"/>
          </p:cNvSpPr>
          <p:nvPr/>
        </p:nvSpPr>
        <p:spPr>
          <a:xfrm>
            <a:off x="122626" y="929277"/>
            <a:ext cx="8913870"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302"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８．スマートシティサービス・アセット</a:t>
            </a:r>
            <a:endPar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03" name="Text Box 4"/>
          <p:cNvSpPr txBox="1">
            <a:spLocks noChangeArrowheads="1"/>
          </p:cNvSpPr>
          <p:nvPr/>
        </p:nvSpPr>
        <p:spPr>
          <a:xfrm>
            <a:off x="25927" y="502711"/>
            <a:ext cx="4291748"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スマートシティサービス</a:t>
            </a:r>
            <a:endParaRPr kumimoji="1" lang="ja-JP" altLang="en-US" sz="2000" b="1" i="0" u="none" strike="noStrike" kern="1200" cap="none" spc="0" normalizeH="0" baseline="0" noProof="0">
              <a:ln>
                <a:noFill/>
              </a:ln>
              <a:solidFill>
                <a:srgbClr val="000000"/>
              </a:solidFill>
              <a:effectLst/>
              <a:uLnTx/>
              <a:uFillTx/>
              <a:latin typeface="ＭＳ Ｐゴシック"/>
              <a:ea typeface="ＭＳ Ｐゴシック"/>
              <a:cs typeface="+mn-cs"/>
            </a:endParaRPr>
          </a:p>
        </p:txBody>
      </p:sp>
      <p:sp>
        <p:nvSpPr>
          <p:cNvPr id="1304" name="正方形/長方形 18"/>
          <p:cNvSpPr/>
          <p:nvPr/>
        </p:nvSpPr>
        <p:spPr>
          <a:xfrm>
            <a:off x="66892" y="2513389"/>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sysClr val="windowText" lastClr="000000"/>
              </a:solidFill>
              <a:effectLst/>
              <a:uLnTx/>
              <a:uFillTx/>
              <a:latin typeface="Arial"/>
              <a:ea typeface="ＭＳ Ｐゴシック"/>
              <a:cs typeface="+mn-cs"/>
            </a:endParaRPr>
          </a:p>
        </p:txBody>
      </p:sp>
      <p:sp>
        <p:nvSpPr>
          <p:cNvPr id="1305" name="正方形/長方形 22"/>
          <p:cNvSpPr/>
          <p:nvPr/>
        </p:nvSpPr>
        <p:spPr>
          <a:xfrm>
            <a:off x="90767" y="908720"/>
            <a:ext cx="8884397" cy="738664"/>
          </a:xfrm>
          <a:prstGeom prst="rect">
            <a:avLst/>
          </a:prstGeom>
        </p:spPr>
        <p:txBody>
          <a:bodyPr wrap="square">
            <a:spAutoFit/>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提案内容のうち、都市</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上で管理され利用者に提供されるアプリなど、「スマートシティリファレンスアーキテクチャ」において「スマートシティサービス」と整理されている事項について、ホワイトペーパー第６章を参照し、記載すること</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306" name="Rectangle 66"/>
          <p:cNvSpPr>
            <a:spLocks noChangeArrowheads="1"/>
          </p:cNvSpPr>
          <p:nvPr/>
        </p:nvSpPr>
        <p:spPr>
          <a:xfrm>
            <a:off x="183958" y="3965113"/>
            <a:ext cx="8913870"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307" name="Text Box 4"/>
          <p:cNvSpPr txBox="1">
            <a:spLocks noChangeArrowheads="1"/>
          </p:cNvSpPr>
          <p:nvPr/>
        </p:nvSpPr>
        <p:spPr>
          <a:xfrm>
            <a:off x="87259" y="3538547"/>
            <a:ext cx="4291748"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スマートシティアセット</a:t>
            </a:r>
            <a:endParaRPr kumimoji="1" lang="ja-JP" altLang="en-US" sz="2000" b="1" i="0" u="none" strike="noStrike" kern="1200" cap="none" spc="0" normalizeH="0" baseline="0" noProof="0">
              <a:ln>
                <a:noFill/>
              </a:ln>
              <a:solidFill>
                <a:srgbClr val="000000"/>
              </a:solidFill>
              <a:effectLst/>
              <a:uLnTx/>
              <a:uFillTx/>
              <a:latin typeface="ＭＳ Ｐゴシック"/>
              <a:ea typeface="ＭＳ Ｐゴシック"/>
              <a:cs typeface="+mn-cs"/>
            </a:endParaRPr>
          </a:p>
        </p:txBody>
      </p:sp>
      <p:sp>
        <p:nvSpPr>
          <p:cNvPr id="1308" name="正方形/長方形 16"/>
          <p:cNvSpPr/>
          <p:nvPr/>
        </p:nvSpPr>
        <p:spPr>
          <a:xfrm>
            <a:off x="128224" y="5549225"/>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sysClr val="windowText" lastClr="000000"/>
              </a:solidFill>
              <a:effectLst/>
              <a:uLnTx/>
              <a:uFillTx/>
              <a:latin typeface="Arial"/>
              <a:ea typeface="ＭＳ Ｐゴシック"/>
              <a:cs typeface="+mn-cs"/>
            </a:endParaRPr>
          </a:p>
        </p:txBody>
      </p:sp>
      <p:sp>
        <p:nvSpPr>
          <p:cNvPr id="1309" name="正方形/長方形 17"/>
          <p:cNvSpPr/>
          <p:nvPr/>
        </p:nvSpPr>
        <p:spPr>
          <a:xfrm>
            <a:off x="152099" y="3944556"/>
            <a:ext cx="8884397" cy="738664"/>
          </a:xfrm>
          <a:prstGeom prst="rect">
            <a:avLst/>
          </a:prstGeom>
        </p:spPr>
        <p:txBody>
          <a:bodyPr wrap="square">
            <a:spAutoFit/>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提案内容のうち、都市</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が取得し得るデジタルなデータを生成するアセットなど、</a:t>
            </a:r>
            <a:r>
              <a:rPr kumimoji="1" lang="ja-JP" altLang="en-US" sz="1400" b="0" i="1" u="none" strike="noStrike" kern="1200" cap="none" spc="0" normalizeH="0" baseline="0" noProof="0">
                <a:ln>
                  <a:noFill/>
                </a:ln>
                <a:solidFill>
                  <a:srgbClr val="333399"/>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スマートシティリファレンスアーキテクチャ」において「スマートシティアセット」と整理されている事項について、ホワイトペーパー第８章を参照し、記載すること</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311" name="正方形/長方形 676"/>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312" name="テキスト 673"/>
          <p:cNvSpPr txBox="1"/>
          <p:nvPr/>
        </p:nvSpPr>
        <p:spPr>
          <a:xfrm>
            <a:off x="2990356" y="572972"/>
            <a:ext cx="6155841" cy="306884"/>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rPr>
              <a:t>※応募事業に関連のない場合は記載しなくても良い（詳細は別紙２参照）</a:t>
            </a: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5" name="正方形/長方形 14"/>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903B1401-892A-4D2E-B233-6C5D35998DDD}"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11</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41512766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8"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31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９．都市ＯＳ</a:t>
            </a:r>
            <a:endPar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20"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都市ＯＳ（機能（サービス）、データ、データ連携、共通機能）</a:t>
            </a:r>
          </a:p>
        </p:txBody>
      </p:sp>
      <p:sp>
        <p:nvSpPr>
          <p:cNvPr id="1321" name="正方形/長方形 18"/>
          <p:cNvSpPr/>
          <p:nvPr/>
        </p:nvSpPr>
        <p:spPr>
          <a:xfrm>
            <a:off x="56888" y="3487763"/>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sysClr val="windowText" lastClr="000000"/>
              </a:solidFill>
              <a:effectLst/>
              <a:uLnTx/>
              <a:uFillTx/>
              <a:latin typeface="Arial"/>
              <a:ea typeface="ＭＳ Ｐゴシック"/>
              <a:cs typeface="+mn-cs"/>
            </a:endParaRPr>
          </a:p>
        </p:txBody>
      </p:sp>
      <p:sp>
        <p:nvSpPr>
          <p:cNvPr id="1322" name="正方形/長方形 22"/>
          <p:cNvSpPr/>
          <p:nvPr/>
        </p:nvSpPr>
        <p:spPr>
          <a:xfrm>
            <a:off x="150080" y="965627"/>
            <a:ext cx="8886416" cy="1446550"/>
          </a:xfrm>
          <a:prstGeom prst="rect">
            <a:avLst/>
          </a:prstGeom>
        </p:spPr>
        <p:txBody>
          <a:bodyPr wrap="square">
            <a:spAutoFit/>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提案内容のうち、</a:t>
            </a:r>
            <a:endPar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①都市</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上の各種サービスと連携する機能や</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PI</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の提供、用途に応じた認証方法の提供、都市</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と連携するサービスの管理や機能の組合せの提供（機能（サービス））、</a:t>
            </a:r>
            <a:endPar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②分散されたデータの仲介や都市</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上に保存・蓄積されたデータの管理（データ）、</a:t>
            </a:r>
            <a:endPar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③都市</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に接続するアセットの管理や制御の実行、インタフェースの管理（データ連携）、</a:t>
            </a:r>
            <a:endPar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④都市</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を防御するために必要なセキュリティ機能の提供、都市</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の運用に必要な監視・バックアップ・障害対策等の機能の提供（共通機能）</a:t>
            </a:r>
            <a:endPar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など、「スマートシティリファレンスアーキテクチャ」において「都市</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と整理されている事項について、ホワイトペーパー第７章を参照し、記載すること</a:t>
            </a:r>
            <a:endPar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特に、３特徴（相互運用性、データ流通、拡張容易性（ビルディングブロック））を満たしていることを示すこと。）</a:t>
            </a:r>
            <a:endPar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324" name="正方形/長方形 678"/>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325" name="テキスト 679"/>
          <p:cNvSpPr txBox="1"/>
          <p:nvPr/>
        </p:nvSpPr>
        <p:spPr>
          <a:xfrm>
            <a:off x="2990356" y="6397674"/>
            <a:ext cx="6155841" cy="306884"/>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rPr>
              <a:t>※応募事業に関連のない場合は記載しなくても良い（詳細は別紙２参照）</a:t>
            </a: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0FDDC5C6-F915-4EE4-B5F0-999877D9DF8F}"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12</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graphicFrame>
        <p:nvGraphicFramePr>
          <p:cNvPr id="11" name="表 12">
            <a:extLst>
              <a:ext uri="{FF2B5EF4-FFF2-40B4-BE49-F238E27FC236}">
                <a16:creationId xmlns:a16="http://schemas.microsoft.com/office/drawing/2014/main" id="{5E7448FD-7B0B-4F52-B561-B2E0050CE363}"/>
              </a:ext>
            </a:extLst>
          </p:cNvPr>
          <p:cNvGraphicFramePr>
            <a:graphicFrameLocks noGrp="1"/>
          </p:cNvGraphicFramePr>
          <p:nvPr/>
        </p:nvGraphicFramePr>
        <p:xfrm>
          <a:off x="372086" y="5846400"/>
          <a:ext cx="8389024" cy="822960"/>
        </p:xfrm>
        <a:graphic>
          <a:graphicData uri="http://schemas.openxmlformats.org/drawingml/2006/table">
            <a:tbl>
              <a:tblPr firstRow="1" bandRow="1">
                <a:tableStyleId>{5940675A-B579-460E-94D1-54222C63F5DA}</a:tableStyleId>
              </a:tblPr>
              <a:tblGrid>
                <a:gridCol w="1895658">
                  <a:extLst>
                    <a:ext uri="{9D8B030D-6E8A-4147-A177-3AD203B41FA5}">
                      <a16:colId xmlns:a16="http://schemas.microsoft.com/office/drawing/2014/main" val="20000"/>
                    </a:ext>
                  </a:extLst>
                </a:gridCol>
                <a:gridCol w="6493366">
                  <a:extLst>
                    <a:ext uri="{9D8B030D-6E8A-4147-A177-3AD203B41FA5}">
                      <a16:colId xmlns:a16="http://schemas.microsoft.com/office/drawing/2014/main" val="20001"/>
                    </a:ext>
                  </a:extLst>
                </a:gridCol>
              </a:tblGrid>
              <a:tr h="238929">
                <a:tc>
                  <a:txBody>
                    <a:bodyPr/>
                    <a:lstStyle/>
                    <a:p>
                      <a:pPr algn="l"/>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構築する都市</a:t>
                      </a:r>
                      <a:r>
                        <a:rPr kumimoji="1" lang="en-US" altLang="ja-JP"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OS</a:t>
                      </a:r>
                      <a:r>
                        <a:rPr kumimoji="1" lang="ja-JP" altLang="en-US" sz="11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の種類</a:t>
                      </a:r>
                      <a:endParaRPr kumimoji="1" lang="ja-JP" altLang="en-US" sz="120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l"/>
                      <a:r>
                        <a:rPr kumimoji="1" lang="ja-JP" altLang="en-US" sz="1200">
                          <a:solidFill>
                            <a:srgbClr val="FF0000"/>
                          </a:solidFill>
                          <a:latin typeface="Meiryo UI" panose="020B0604030504040204" pitchFamily="50" charset="-128"/>
                          <a:ea typeface="Meiryo UI" panose="020B0604030504040204" pitchFamily="50" charset="-128"/>
                        </a:rPr>
                        <a:t>製品名・スクラッチ開発など</a:t>
                      </a:r>
                    </a:p>
                  </a:txBody>
                  <a:tcPr>
                    <a:noFill/>
                  </a:tcPr>
                </a:tc>
                <a:extLst>
                  <a:ext uri="{0D108BD9-81ED-4DB2-BD59-A6C34878D82A}">
                    <a16:rowId xmlns:a16="http://schemas.microsoft.com/office/drawing/2014/main" val="10000"/>
                  </a:ext>
                </a:extLst>
              </a:tr>
              <a:tr h="238929">
                <a:tc>
                  <a:txBody>
                    <a:bodyPr/>
                    <a:lstStyle/>
                    <a:p>
                      <a:r>
                        <a:rPr kumimoji="1" lang="ja-JP" altLang="en-US" sz="1200" b="0" i="0" u="none" strike="noStrike" kern="1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予定しているベンダー候補</a:t>
                      </a:r>
                      <a:endParaRPr kumimoji="1" lang="ja-JP" altLang="en-US" sz="120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l"/>
                      <a:endParaRPr kumimoji="1" lang="ja-JP" altLang="en-US" sz="120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238929">
                <a:tc>
                  <a:txBody>
                    <a:bodyPr/>
                    <a:lstStyle/>
                    <a:p>
                      <a:r>
                        <a:rPr kumimoji="1" lang="ja-JP" altLang="en-US" sz="1200">
                          <a:solidFill>
                            <a:schemeClr val="tx1"/>
                          </a:solidFill>
                          <a:latin typeface="Meiryo UI" panose="020B0604030504040204" pitchFamily="50" charset="-128"/>
                          <a:ea typeface="Meiryo UI" panose="020B0604030504040204" pitchFamily="50" charset="-128"/>
                        </a:rPr>
                        <a:t>構築（予定）年度</a:t>
                      </a:r>
                    </a:p>
                  </a:txBody>
                  <a:tcPr>
                    <a:solidFill>
                      <a:schemeClr val="bg1">
                        <a:lumMod val="85000"/>
                      </a:schemeClr>
                    </a:solidFill>
                  </a:tcPr>
                </a:tc>
                <a:tc>
                  <a:txBody>
                    <a:bodyPr/>
                    <a:lstStyle/>
                    <a:p>
                      <a:pPr algn="l"/>
                      <a:endParaRPr kumimoji="1" lang="ja-JP" altLang="en-US" sz="120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bl>
          </a:graphicData>
        </a:graphic>
      </p:graphicFrame>
      <p:sp>
        <p:nvSpPr>
          <p:cNvPr id="94" name="正方形/長方形 85">
            <a:extLst>
              <a:ext uri="{FF2B5EF4-FFF2-40B4-BE49-F238E27FC236}">
                <a16:creationId xmlns:a16="http://schemas.microsoft.com/office/drawing/2014/main" id="{74AA03CB-1144-41AB-BC2C-DA092BECFF9E}"/>
              </a:ext>
            </a:extLst>
          </p:cNvPr>
          <p:cNvSpPr/>
          <p:nvPr/>
        </p:nvSpPr>
        <p:spPr>
          <a:xfrm>
            <a:off x="4808982" y="4397868"/>
            <a:ext cx="1927357" cy="1399665"/>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6" name="正方形/長方形 94">
            <a:extLst>
              <a:ext uri="{FF2B5EF4-FFF2-40B4-BE49-F238E27FC236}">
                <a16:creationId xmlns:a16="http://schemas.microsoft.com/office/drawing/2014/main" id="{FE1545C4-A604-45EC-AE09-C12EB75F32AC}"/>
              </a:ext>
            </a:extLst>
          </p:cNvPr>
          <p:cNvSpPr/>
          <p:nvPr/>
        </p:nvSpPr>
        <p:spPr>
          <a:xfrm>
            <a:off x="461907" y="3359685"/>
            <a:ext cx="481325" cy="1253843"/>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7" name="テキスト ボックス 95">
            <a:extLst>
              <a:ext uri="{FF2B5EF4-FFF2-40B4-BE49-F238E27FC236}">
                <a16:creationId xmlns:a16="http://schemas.microsoft.com/office/drawing/2014/main" id="{EEDBC133-E993-47A3-B849-9DF801502777}"/>
              </a:ext>
            </a:extLst>
          </p:cNvPr>
          <p:cNvSpPr txBox="1"/>
          <p:nvPr/>
        </p:nvSpPr>
        <p:spPr>
          <a:xfrm>
            <a:off x="499859" y="3365019"/>
            <a:ext cx="383503" cy="1248509"/>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データ連携基盤</a:t>
            </a:r>
          </a:p>
        </p:txBody>
      </p:sp>
      <p:sp>
        <p:nvSpPr>
          <p:cNvPr id="98" name="正方形/長方形 96">
            <a:extLst>
              <a:ext uri="{FF2B5EF4-FFF2-40B4-BE49-F238E27FC236}">
                <a16:creationId xmlns:a16="http://schemas.microsoft.com/office/drawing/2014/main" id="{4DF7DD31-F7E0-4519-9AFE-F6B447816728}"/>
              </a:ext>
            </a:extLst>
          </p:cNvPr>
          <p:cNvSpPr/>
          <p:nvPr/>
        </p:nvSpPr>
        <p:spPr>
          <a:xfrm>
            <a:off x="448995" y="2379534"/>
            <a:ext cx="481325" cy="907686"/>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9" name="テキスト ボックス 97">
            <a:extLst>
              <a:ext uri="{FF2B5EF4-FFF2-40B4-BE49-F238E27FC236}">
                <a16:creationId xmlns:a16="http://schemas.microsoft.com/office/drawing/2014/main" id="{CF133FE5-5909-42D5-A3ED-44E1459B6D85}"/>
              </a:ext>
            </a:extLst>
          </p:cNvPr>
          <p:cNvSpPr txBox="1"/>
          <p:nvPr/>
        </p:nvSpPr>
        <p:spPr>
          <a:xfrm>
            <a:off x="516089" y="2348880"/>
            <a:ext cx="383503" cy="857862"/>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サービス</a:t>
            </a:r>
            <a:endParaRPr kumimoji="1" lang="ja-JP" altLang="en-US" sz="1292" b="1" i="0" u="none" strike="noStrike" kern="1200" cap="none" spc="0" normalizeH="0" baseline="0" noProof="0">
              <a:ln>
                <a:noFill/>
              </a:ln>
              <a:solidFill>
                <a:srgbClr val="00B050"/>
              </a:solidFill>
              <a:effectLst/>
              <a:uLnTx/>
              <a:uFillTx/>
              <a:latin typeface="Meiryo UI" panose="020B0604030504040204" pitchFamily="50" charset="-128"/>
              <a:ea typeface="Meiryo UI" panose="020B0604030504040204" pitchFamily="50" charset="-128"/>
              <a:cs typeface="+mn-cs"/>
            </a:endParaRPr>
          </a:p>
        </p:txBody>
      </p:sp>
      <p:sp>
        <p:nvSpPr>
          <p:cNvPr id="100" name="正方形/長方形 98">
            <a:extLst>
              <a:ext uri="{FF2B5EF4-FFF2-40B4-BE49-F238E27FC236}">
                <a16:creationId xmlns:a16="http://schemas.microsoft.com/office/drawing/2014/main" id="{13EC4CF5-0CAD-4C3D-B57F-4011E799AE12}"/>
              </a:ext>
            </a:extLst>
          </p:cNvPr>
          <p:cNvSpPr/>
          <p:nvPr/>
        </p:nvSpPr>
        <p:spPr>
          <a:xfrm>
            <a:off x="463518" y="4676585"/>
            <a:ext cx="481325" cy="1028035"/>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01" name="テキスト ボックス 99">
            <a:extLst>
              <a:ext uri="{FF2B5EF4-FFF2-40B4-BE49-F238E27FC236}">
                <a16:creationId xmlns:a16="http://schemas.microsoft.com/office/drawing/2014/main" id="{9C172B36-5AD7-405C-AFB0-1F97D9B11359}"/>
              </a:ext>
            </a:extLst>
          </p:cNvPr>
          <p:cNvSpPr txBox="1"/>
          <p:nvPr/>
        </p:nvSpPr>
        <p:spPr>
          <a:xfrm>
            <a:off x="395536" y="4757544"/>
            <a:ext cx="582339" cy="828717"/>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データ・</a:t>
            </a:r>
            <a:endParaRPr kumimoji="1" lang="en-US" altLang="ja-JP" sz="1292"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アセット</a:t>
            </a:r>
          </a:p>
        </p:txBody>
      </p:sp>
      <p:sp>
        <p:nvSpPr>
          <p:cNvPr id="102" name="正方形/長方形 100">
            <a:extLst>
              <a:ext uri="{FF2B5EF4-FFF2-40B4-BE49-F238E27FC236}">
                <a16:creationId xmlns:a16="http://schemas.microsoft.com/office/drawing/2014/main" id="{57B6747D-3EB3-4D08-A9A3-766D0A3CEA76}"/>
              </a:ext>
            </a:extLst>
          </p:cNvPr>
          <p:cNvSpPr/>
          <p:nvPr/>
        </p:nvSpPr>
        <p:spPr>
          <a:xfrm>
            <a:off x="1300032" y="3701867"/>
            <a:ext cx="5441058" cy="713714"/>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05" name="円柱 103">
            <a:extLst>
              <a:ext uri="{FF2B5EF4-FFF2-40B4-BE49-F238E27FC236}">
                <a16:creationId xmlns:a16="http://schemas.microsoft.com/office/drawing/2014/main" id="{D02D0BAD-7320-41C8-A50C-D38D499F95F6}"/>
              </a:ext>
            </a:extLst>
          </p:cNvPr>
          <p:cNvSpPr/>
          <p:nvPr/>
        </p:nvSpPr>
        <p:spPr>
          <a:xfrm>
            <a:off x="1699972" y="4884016"/>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治体河川</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監視システム</a:t>
            </a:r>
          </a:p>
        </p:txBody>
      </p:sp>
      <p:sp>
        <p:nvSpPr>
          <p:cNvPr id="112" name="正方形/長方形 110">
            <a:extLst>
              <a:ext uri="{FF2B5EF4-FFF2-40B4-BE49-F238E27FC236}">
                <a16:creationId xmlns:a16="http://schemas.microsoft.com/office/drawing/2014/main" id="{372F8D47-E863-48E0-922D-9CE2B347E272}"/>
              </a:ext>
            </a:extLst>
          </p:cNvPr>
          <p:cNvSpPr/>
          <p:nvPr/>
        </p:nvSpPr>
        <p:spPr>
          <a:xfrm>
            <a:off x="1933616" y="3823723"/>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ータ仲介機能</a:t>
            </a:r>
            <a:endParaRPr kumimoji="1" lang="en-US" altLang="ja-JP"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ータ蓄積・データ分散・イベント処理）</a:t>
            </a:r>
            <a:endParaRPr kumimoji="1" lang="ja-JP" altLang="en-US"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13" name="円柱 111">
            <a:extLst>
              <a:ext uri="{FF2B5EF4-FFF2-40B4-BE49-F238E27FC236}">
                <a16:creationId xmlns:a16="http://schemas.microsoft.com/office/drawing/2014/main" id="{A16F3E3E-9F0A-466A-9297-754A47229169}"/>
              </a:ext>
            </a:extLst>
          </p:cNvPr>
          <p:cNvSpPr/>
          <p:nvPr/>
        </p:nvSpPr>
        <p:spPr>
          <a:xfrm>
            <a:off x="2790909" y="4881733"/>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人流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提供システム</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4" name="楕円 112">
            <a:extLst>
              <a:ext uri="{FF2B5EF4-FFF2-40B4-BE49-F238E27FC236}">
                <a16:creationId xmlns:a16="http://schemas.microsoft.com/office/drawing/2014/main" id="{79F11B95-47F8-4A5D-ACCF-34C5C82941C2}"/>
              </a:ext>
            </a:extLst>
          </p:cNvPr>
          <p:cNvSpPr/>
          <p:nvPr/>
        </p:nvSpPr>
        <p:spPr>
          <a:xfrm>
            <a:off x="2013180" y="4761385"/>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5" name="テキスト ボックス 113">
            <a:extLst>
              <a:ext uri="{FF2B5EF4-FFF2-40B4-BE49-F238E27FC236}">
                <a16:creationId xmlns:a16="http://schemas.microsoft.com/office/drawing/2014/main" id="{D7A0228D-FCBA-412D-9FCE-A9C36FB3B95C}"/>
              </a:ext>
            </a:extLst>
          </p:cNvPr>
          <p:cNvSpPr txBox="1"/>
          <p:nvPr/>
        </p:nvSpPr>
        <p:spPr>
          <a:xfrm>
            <a:off x="1612241" y="4676585"/>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6" name="テキスト ボックス 114">
            <a:extLst>
              <a:ext uri="{FF2B5EF4-FFF2-40B4-BE49-F238E27FC236}">
                <a16:creationId xmlns:a16="http://schemas.microsoft.com/office/drawing/2014/main" id="{EB56599F-C4B1-4548-9DE0-B8B66AA6828D}"/>
              </a:ext>
            </a:extLst>
          </p:cNvPr>
          <p:cNvSpPr txBox="1"/>
          <p:nvPr/>
        </p:nvSpPr>
        <p:spPr>
          <a:xfrm>
            <a:off x="954948" y="5239458"/>
            <a:ext cx="822921"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市</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17" name="テキスト ボックス 115">
            <a:extLst>
              <a:ext uri="{FF2B5EF4-FFF2-40B4-BE49-F238E27FC236}">
                <a16:creationId xmlns:a16="http://schemas.microsoft.com/office/drawing/2014/main" id="{525F82DC-4F9A-4EF4-8EDE-6EBF4E857DF4}"/>
              </a:ext>
            </a:extLst>
          </p:cNvPr>
          <p:cNvSpPr txBox="1"/>
          <p:nvPr/>
        </p:nvSpPr>
        <p:spPr>
          <a:xfrm>
            <a:off x="2719396" y="5464345"/>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通信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18" name="楕円 116">
            <a:extLst>
              <a:ext uri="{FF2B5EF4-FFF2-40B4-BE49-F238E27FC236}">
                <a16:creationId xmlns:a16="http://schemas.microsoft.com/office/drawing/2014/main" id="{18883187-FCDB-47AB-98B7-10B3B138CEE3}"/>
              </a:ext>
            </a:extLst>
          </p:cNvPr>
          <p:cNvSpPr/>
          <p:nvPr/>
        </p:nvSpPr>
        <p:spPr>
          <a:xfrm>
            <a:off x="1743035" y="3564534"/>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9" name="テキスト ボックス 117">
            <a:extLst>
              <a:ext uri="{FF2B5EF4-FFF2-40B4-BE49-F238E27FC236}">
                <a16:creationId xmlns:a16="http://schemas.microsoft.com/office/drawing/2014/main" id="{078C446D-79DF-4199-8054-2B81D8FF4011}"/>
              </a:ext>
            </a:extLst>
          </p:cNvPr>
          <p:cNvSpPr txBox="1"/>
          <p:nvPr/>
        </p:nvSpPr>
        <p:spPr>
          <a:xfrm>
            <a:off x="1410732" y="3462505"/>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0" name="楕円 118">
            <a:extLst>
              <a:ext uri="{FF2B5EF4-FFF2-40B4-BE49-F238E27FC236}">
                <a16:creationId xmlns:a16="http://schemas.microsoft.com/office/drawing/2014/main" id="{8CE1F2FC-B379-48E7-BB2D-E5E13A6A3054}"/>
              </a:ext>
            </a:extLst>
          </p:cNvPr>
          <p:cNvSpPr/>
          <p:nvPr/>
        </p:nvSpPr>
        <p:spPr>
          <a:xfrm>
            <a:off x="2808467" y="3563707"/>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21" name="テキスト ボックス 119">
            <a:extLst>
              <a:ext uri="{FF2B5EF4-FFF2-40B4-BE49-F238E27FC236}">
                <a16:creationId xmlns:a16="http://schemas.microsoft.com/office/drawing/2014/main" id="{DEB054C7-B790-4760-BFDC-2FCB6DB18F91}"/>
              </a:ext>
            </a:extLst>
          </p:cNvPr>
          <p:cNvSpPr txBox="1"/>
          <p:nvPr/>
        </p:nvSpPr>
        <p:spPr>
          <a:xfrm>
            <a:off x="2495590" y="3451964"/>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2" name="楕円 120">
            <a:extLst>
              <a:ext uri="{FF2B5EF4-FFF2-40B4-BE49-F238E27FC236}">
                <a16:creationId xmlns:a16="http://schemas.microsoft.com/office/drawing/2014/main" id="{700A648A-4DC1-4BB3-B4B6-A6F6B158B8A7}"/>
              </a:ext>
            </a:extLst>
          </p:cNvPr>
          <p:cNvSpPr/>
          <p:nvPr/>
        </p:nvSpPr>
        <p:spPr>
          <a:xfrm>
            <a:off x="3876584" y="3567771"/>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23" name="テキスト ボックス 121">
            <a:extLst>
              <a:ext uri="{FF2B5EF4-FFF2-40B4-BE49-F238E27FC236}">
                <a16:creationId xmlns:a16="http://schemas.microsoft.com/office/drawing/2014/main" id="{9C586B18-8E34-413C-9C00-7538B2A35480}"/>
              </a:ext>
            </a:extLst>
          </p:cNvPr>
          <p:cNvSpPr txBox="1"/>
          <p:nvPr/>
        </p:nvSpPr>
        <p:spPr>
          <a:xfrm>
            <a:off x="3563707" y="3456029"/>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4" name="テキスト ボックス 122">
            <a:extLst>
              <a:ext uri="{FF2B5EF4-FFF2-40B4-BE49-F238E27FC236}">
                <a16:creationId xmlns:a16="http://schemas.microsoft.com/office/drawing/2014/main" id="{2FFB4F90-E5D1-47DA-9C1B-C051E7FD19F0}"/>
              </a:ext>
            </a:extLst>
          </p:cNvPr>
          <p:cNvSpPr txBox="1"/>
          <p:nvPr/>
        </p:nvSpPr>
        <p:spPr>
          <a:xfrm>
            <a:off x="2288459" y="2395933"/>
            <a:ext cx="1186270"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ヘルスケア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25" name="テキスト ボックス 123">
            <a:extLst>
              <a:ext uri="{FF2B5EF4-FFF2-40B4-BE49-F238E27FC236}">
                <a16:creationId xmlns:a16="http://schemas.microsoft.com/office/drawing/2014/main" id="{1CA76BA3-EE33-4D01-834D-78BB3D51054D}"/>
              </a:ext>
            </a:extLst>
          </p:cNvPr>
          <p:cNvSpPr txBox="1"/>
          <p:nvPr/>
        </p:nvSpPr>
        <p:spPr>
          <a:xfrm>
            <a:off x="3504182" y="2395933"/>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小売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26" name="テキスト ボックス 124">
            <a:extLst>
              <a:ext uri="{FF2B5EF4-FFF2-40B4-BE49-F238E27FC236}">
                <a16:creationId xmlns:a16="http://schemas.microsoft.com/office/drawing/2014/main" id="{0ED4A00B-A072-42DE-BEE7-C6FC177F285B}"/>
              </a:ext>
            </a:extLst>
          </p:cNvPr>
          <p:cNvSpPr txBox="1"/>
          <p:nvPr/>
        </p:nvSpPr>
        <p:spPr>
          <a:xfrm>
            <a:off x="4550914" y="2395933"/>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宅配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27" name="テキスト ボックス 125">
            <a:extLst>
              <a:ext uri="{FF2B5EF4-FFF2-40B4-BE49-F238E27FC236}">
                <a16:creationId xmlns:a16="http://schemas.microsoft.com/office/drawing/2014/main" id="{99BCCA1C-4603-444C-B5B7-281C92E1EC31}"/>
              </a:ext>
            </a:extLst>
          </p:cNvPr>
          <p:cNvSpPr txBox="1"/>
          <p:nvPr/>
        </p:nvSpPr>
        <p:spPr>
          <a:xfrm>
            <a:off x="5562801" y="2395933"/>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29" name="正方形/長方形 127">
            <a:extLst>
              <a:ext uri="{FF2B5EF4-FFF2-40B4-BE49-F238E27FC236}">
                <a16:creationId xmlns:a16="http://schemas.microsoft.com/office/drawing/2014/main" id="{27F8D6C0-350C-4DAA-9310-52165FCC5190}"/>
              </a:ext>
            </a:extLst>
          </p:cNvPr>
          <p:cNvSpPr/>
          <p:nvPr/>
        </p:nvSpPr>
        <p:spPr>
          <a:xfrm>
            <a:off x="7540011" y="3749432"/>
            <a:ext cx="1352469" cy="632957"/>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他都市（●市）の</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連携基盤</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0" name="楕円 128">
            <a:extLst>
              <a:ext uri="{FF2B5EF4-FFF2-40B4-BE49-F238E27FC236}">
                <a16:creationId xmlns:a16="http://schemas.microsoft.com/office/drawing/2014/main" id="{8484359B-E7E6-4B42-9493-19294D21C5D3}"/>
              </a:ext>
            </a:extLst>
          </p:cNvPr>
          <p:cNvSpPr/>
          <p:nvPr/>
        </p:nvSpPr>
        <p:spPr>
          <a:xfrm>
            <a:off x="6655861" y="3970444"/>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1" name="テキスト ボックス 129">
            <a:extLst>
              <a:ext uri="{FF2B5EF4-FFF2-40B4-BE49-F238E27FC236}">
                <a16:creationId xmlns:a16="http://schemas.microsoft.com/office/drawing/2014/main" id="{16E26D53-3361-454D-BB75-25849FEFD2F1}"/>
              </a:ext>
            </a:extLst>
          </p:cNvPr>
          <p:cNvSpPr txBox="1"/>
          <p:nvPr/>
        </p:nvSpPr>
        <p:spPr>
          <a:xfrm>
            <a:off x="6716209" y="3786619"/>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2" name="楕円 130">
            <a:extLst>
              <a:ext uri="{FF2B5EF4-FFF2-40B4-BE49-F238E27FC236}">
                <a16:creationId xmlns:a16="http://schemas.microsoft.com/office/drawing/2014/main" id="{22E9A400-09C5-4F1A-883A-27966E88A6DA}"/>
              </a:ext>
            </a:extLst>
          </p:cNvPr>
          <p:cNvSpPr/>
          <p:nvPr/>
        </p:nvSpPr>
        <p:spPr>
          <a:xfrm>
            <a:off x="7445081" y="3968781"/>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3" name="テキスト ボックス 131">
            <a:extLst>
              <a:ext uri="{FF2B5EF4-FFF2-40B4-BE49-F238E27FC236}">
                <a16:creationId xmlns:a16="http://schemas.microsoft.com/office/drawing/2014/main" id="{0D826BCC-4BD3-4BED-B3C2-B84FE2F504E6}"/>
              </a:ext>
            </a:extLst>
          </p:cNvPr>
          <p:cNvSpPr txBox="1"/>
          <p:nvPr/>
        </p:nvSpPr>
        <p:spPr>
          <a:xfrm>
            <a:off x="7193164" y="3793936"/>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 name="円柱 134">
            <a:extLst>
              <a:ext uri="{FF2B5EF4-FFF2-40B4-BE49-F238E27FC236}">
                <a16:creationId xmlns:a16="http://schemas.microsoft.com/office/drawing/2014/main" id="{3ABC83CB-E981-4853-B4BD-2D477C6A1A5B}"/>
              </a:ext>
            </a:extLst>
          </p:cNvPr>
          <p:cNvSpPr/>
          <p:nvPr/>
        </p:nvSpPr>
        <p:spPr>
          <a:xfrm>
            <a:off x="4920659" y="4879063"/>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 name="テキスト ボックス 135">
            <a:extLst>
              <a:ext uri="{FF2B5EF4-FFF2-40B4-BE49-F238E27FC236}">
                <a16:creationId xmlns:a16="http://schemas.microsoft.com/office/drawing/2014/main" id="{FA521F2D-9CF1-4F54-AEE7-6992063509C3}"/>
              </a:ext>
            </a:extLst>
          </p:cNvPr>
          <p:cNvSpPr txBox="1"/>
          <p:nvPr/>
        </p:nvSpPr>
        <p:spPr>
          <a:xfrm>
            <a:off x="4845603" y="5484198"/>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団体</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38" name="正方形/長方形 136">
            <a:extLst>
              <a:ext uri="{FF2B5EF4-FFF2-40B4-BE49-F238E27FC236}">
                <a16:creationId xmlns:a16="http://schemas.microsoft.com/office/drawing/2014/main" id="{9CF157E8-F69B-4B46-A55B-33ECCE5A6057}"/>
              </a:ext>
            </a:extLst>
          </p:cNvPr>
          <p:cNvSpPr/>
          <p:nvPr/>
        </p:nvSpPr>
        <p:spPr>
          <a:xfrm>
            <a:off x="4069127" y="3821440"/>
            <a:ext cx="2057187" cy="342989"/>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ータ処理機能</a:t>
            </a:r>
            <a:endParaRPr kumimoji="1" lang="en-US" altLang="ja-JP"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データ変換・データ受付・データ取得）</a:t>
            </a:r>
            <a:endParaRPr kumimoji="1" lang="ja-JP" altLang="en-US" sz="1015"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41" name="円柱 139">
            <a:extLst>
              <a:ext uri="{FF2B5EF4-FFF2-40B4-BE49-F238E27FC236}">
                <a16:creationId xmlns:a16="http://schemas.microsoft.com/office/drawing/2014/main" id="{2CDF5DD8-68E3-4C48-96A1-0BBC20E3E867}"/>
              </a:ext>
            </a:extLst>
          </p:cNvPr>
          <p:cNvSpPr/>
          <p:nvPr/>
        </p:nvSpPr>
        <p:spPr>
          <a:xfrm>
            <a:off x="3871807" y="4884016"/>
            <a:ext cx="802207" cy="572899"/>
          </a:xfrm>
          <a:prstGeom prst="can">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バリアフリー</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関連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2" name="テキスト ボックス 140">
            <a:extLst>
              <a:ext uri="{FF2B5EF4-FFF2-40B4-BE49-F238E27FC236}">
                <a16:creationId xmlns:a16="http://schemas.microsoft.com/office/drawing/2014/main" id="{DB2D2F63-945B-4F99-905A-CDFA8BE8948F}"/>
              </a:ext>
            </a:extLst>
          </p:cNvPr>
          <p:cNvSpPr txBox="1"/>
          <p:nvPr/>
        </p:nvSpPr>
        <p:spPr>
          <a:xfrm>
            <a:off x="3796074" y="5449862"/>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一社●●</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cxnSp>
        <p:nvCxnSpPr>
          <p:cNvPr id="144" name="直線コネクタ 142">
            <a:extLst>
              <a:ext uri="{FF2B5EF4-FFF2-40B4-BE49-F238E27FC236}">
                <a16:creationId xmlns:a16="http://schemas.microsoft.com/office/drawing/2014/main" id="{751E0408-7BD0-4E0F-8A5F-D072FA293237}"/>
              </a:ext>
            </a:extLst>
          </p:cNvPr>
          <p:cNvCxnSpPr>
            <a:stCxn id="130" idx="6"/>
            <a:endCxn id="132" idx="2"/>
          </p:cNvCxnSpPr>
          <p:nvPr/>
        </p:nvCxnSpPr>
        <p:spPr>
          <a:xfrm flipV="1">
            <a:off x="6842088" y="4060500"/>
            <a:ext cx="602993" cy="1663"/>
          </a:xfrm>
          <a:prstGeom prst="line">
            <a:avLst/>
          </a:prstGeom>
          <a:noFill/>
          <a:ln w="6350" cap="flat" cmpd="sng" algn="ctr">
            <a:solidFill>
              <a:srgbClr val="5B9BD5"/>
            </a:solidFill>
            <a:prstDash val="solid"/>
            <a:miter lim="800000"/>
          </a:ln>
          <a:effectLst/>
        </p:spPr>
      </p:cxnSp>
      <p:cxnSp>
        <p:nvCxnSpPr>
          <p:cNvPr id="145" name="直線コネクタ 144">
            <a:extLst>
              <a:ext uri="{FF2B5EF4-FFF2-40B4-BE49-F238E27FC236}">
                <a16:creationId xmlns:a16="http://schemas.microsoft.com/office/drawing/2014/main" id="{96F63DA5-C155-445C-ABBE-0D5B8B0DD5D6}"/>
              </a:ext>
            </a:extLst>
          </p:cNvPr>
          <p:cNvCxnSpPr>
            <a:stCxn id="114" idx="0"/>
          </p:cNvCxnSpPr>
          <p:nvPr/>
        </p:nvCxnSpPr>
        <p:spPr>
          <a:xfrm flipV="1">
            <a:off x="2106294" y="4401192"/>
            <a:ext cx="1" cy="360193"/>
          </a:xfrm>
          <a:prstGeom prst="line">
            <a:avLst/>
          </a:prstGeom>
          <a:noFill/>
          <a:ln w="6350" cap="flat" cmpd="sng" algn="ctr">
            <a:solidFill>
              <a:srgbClr val="5B9BD5"/>
            </a:solidFill>
            <a:prstDash val="solid"/>
            <a:miter lim="800000"/>
          </a:ln>
          <a:effectLst/>
        </p:spPr>
      </p:cxnSp>
      <p:cxnSp>
        <p:nvCxnSpPr>
          <p:cNvPr id="146" name="直線コネクタ 145">
            <a:extLst>
              <a:ext uri="{FF2B5EF4-FFF2-40B4-BE49-F238E27FC236}">
                <a16:creationId xmlns:a16="http://schemas.microsoft.com/office/drawing/2014/main" id="{C835F334-9028-4626-9ECF-783CBCF87BCE}"/>
              </a:ext>
            </a:extLst>
          </p:cNvPr>
          <p:cNvCxnSpPr>
            <a:stCxn id="113" idx="1"/>
          </p:cNvCxnSpPr>
          <p:nvPr/>
        </p:nvCxnSpPr>
        <p:spPr>
          <a:xfrm flipH="1" flipV="1">
            <a:off x="3185624" y="4412022"/>
            <a:ext cx="6389" cy="469710"/>
          </a:xfrm>
          <a:prstGeom prst="line">
            <a:avLst/>
          </a:prstGeom>
          <a:noFill/>
          <a:ln w="6350" cap="flat" cmpd="sng" algn="ctr">
            <a:solidFill>
              <a:srgbClr val="5B9BD5"/>
            </a:solidFill>
            <a:prstDash val="solid"/>
            <a:miter lim="800000"/>
          </a:ln>
          <a:effectLst/>
        </p:spPr>
      </p:cxnSp>
      <p:cxnSp>
        <p:nvCxnSpPr>
          <p:cNvPr id="147" name="直線コネクタ 146">
            <a:extLst>
              <a:ext uri="{FF2B5EF4-FFF2-40B4-BE49-F238E27FC236}">
                <a16:creationId xmlns:a16="http://schemas.microsoft.com/office/drawing/2014/main" id="{236B56E9-ABF7-4392-8A0A-530E6C364992}"/>
              </a:ext>
            </a:extLst>
          </p:cNvPr>
          <p:cNvCxnSpPr>
            <a:stCxn id="141" idx="1"/>
          </p:cNvCxnSpPr>
          <p:nvPr/>
        </p:nvCxnSpPr>
        <p:spPr>
          <a:xfrm flipH="1" flipV="1">
            <a:off x="4264885" y="4417837"/>
            <a:ext cx="8026" cy="466179"/>
          </a:xfrm>
          <a:prstGeom prst="line">
            <a:avLst/>
          </a:prstGeom>
          <a:noFill/>
          <a:ln w="6350" cap="flat" cmpd="sng" algn="ctr">
            <a:solidFill>
              <a:srgbClr val="5B9BD5"/>
            </a:solidFill>
            <a:prstDash val="solid"/>
            <a:miter lim="800000"/>
          </a:ln>
          <a:effectLst/>
        </p:spPr>
      </p:cxnSp>
      <p:cxnSp>
        <p:nvCxnSpPr>
          <p:cNvPr id="148" name="直線コネクタ 147">
            <a:extLst>
              <a:ext uri="{FF2B5EF4-FFF2-40B4-BE49-F238E27FC236}">
                <a16:creationId xmlns:a16="http://schemas.microsoft.com/office/drawing/2014/main" id="{4941C531-1204-4396-98BD-ADC822464FF2}"/>
              </a:ext>
            </a:extLst>
          </p:cNvPr>
          <p:cNvCxnSpPr>
            <a:stCxn id="118" idx="0"/>
          </p:cNvCxnSpPr>
          <p:nvPr/>
        </p:nvCxnSpPr>
        <p:spPr>
          <a:xfrm flipH="1" flipV="1">
            <a:off x="1829804" y="3186971"/>
            <a:ext cx="6346" cy="377562"/>
          </a:xfrm>
          <a:prstGeom prst="line">
            <a:avLst/>
          </a:prstGeom>
          <a:noFill/>
          <a:ln w="6350" cap="flat" cmpd="sng" algn="ctr">
            <a:solidFill>
              <a:srgbClr val="5B9BD5"/>
            </a:solidFill>
            <a:prstDash val="solid"/>
            <a:miter lim="800000"/>
          </a:ln>
          <a:effectLst/>
        </p:spPr>
      </p:cxnSp>
      <p:cxnSp>
        <p:nvCxnSpPr>
          <p:cNvPr id="149" name="直線コネクタ 148">
            <a:extLst>
              <a:ext uri="{FF2B5EF4-FFF2-40B4-BE49-F238E27FC236}">
                <a16:creationId xmlns:a16="http://schemas.microsoft.com/office/drawing/2014/main" id="{79D1B36B-6D54-4ABC-95D2-60640C4A4A53}"/>
              </a:ext>
            </a:extLst>
          </p:cNvPr>
          <p:cNvCxnSpPr>
            <a:stCxn id="120" idx="0"/>
          </p:cNvCxnSpPr>
          <p:nvPr/>
        </p:nvCxnSpPr>
        <p:spPr>
          <a:xfrm flipH="1" flipV="1">
            <a:off x="2899414" y="3186970"/>
            <a:ext cx="2167" cy="376736"/>
          </a:xfrm>
          <a:prstGeom prst="line">
            <a:avLst/>
          </a:prstGeom>
          <a:noFill/>
          <a:ln w="6350" cap="flat" cmpd="sng" algn="ctr">
            <a:solidFill>
              <a:srgbClr val="5B9BD5"/>
            </a:solidFill>
            <a:prstDash val="solid"/>
            <a:miter lim="800000"/>
          </a:ln>
          <a:effectLst/>
        </p:spPr>
      </p:cxnSp>
      <p:cxnSp>
        <p:nvCxnSpPr>
          <p:cNvPr id="152" name="直線コネクタ 152">
            <a:extLst>
              <a:ext uri="{FF2B5EF4-FFF2-40B4-BE49-F238E27FC236}">
                <a16:creationId xmlns:a16="http://schemas.microsoft.com/office/drawing/2014/main" id="{E1D57F1E-9B81-40CB-B6F6-5E9C67685280}"/>
              </a:ext>
            </a:extLst>
          </p:cNvPr>
          <p:cNvCxnSpPr>
            <a:stCxn id="122" idx="0"/>
          </p:cNvCxnSpPr>
          <p:nvPr/>
        </p:nvCxnSpPr>
        <p:spPr>
          <a:xfrm flipH="1" flipV="1">
            <a:off x="3969024" y="3186969"/>
            <a:ext cx="675" cy="380802"/>
          </a:xfrm>
          <a:prstGeom prst="line">
            <a:avLst/>
          </a:prstGeom>
          <a:noFill/>
          <a:ln w="6350" cap="flat" cmpd="sng" algn="ctr">
            <a:solidFill>
              <a:srgbClr val="5B9BD5"/>
            </a:solidFill>
            <a:prstDash val="solid"/>
            <a:miter lim="800000"/>
          </a:ln>
          <a:effectLst/>
        </p:spPr>
      </p:cxnSp>
      <p:sp>
        <p:nvSpPr>
          <p:cNvPr id="154" name="楕円 154">
            <a:extLst>
              <a:ext uri="{FF2B5EF4-FFF2-40B4-BE49-F238E27FC236}">
                <a16:creationId xmlns:a16="http://schemas.microsoft.com/office/drawing/2014/main" id="{47F284BE-74D4-456A-992F-4306A43FAD95}"/>
              </a:ext>
            </a:extLst>
          </p:cNvPr>
          <p:cNvSpPr/>
          <p:nvPr/>
        </p:nvSpPr>
        <p:spPr>
          <a:xfrm>
            <a:off x="4946745" y="3551800"/>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55" name="テキスト ボックス 155">
            <a:extLst>
              <a:ext uri="{FF2B5EF4-FFF2-40B4-BE49-F238E27FC236}">
                <a16:creationId xmlns:a16="http://schemas.microsoft.com/office/drawing/2014/main" id="{2D9B5E0F-BC04-4086-ACF7-5D1208ECA977}"/>
              </a:ext>
            </a:extLst>
          </p:cNvPr>
          <p:cNvSpPr txBox="1"/>
          <p:nvPr/>
        </p:nvSpPr>
        <p:spPr>
          <a:xfrm>
            <a:off x="4633867" y="3440058"/>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56" name="直線コネクタ 156">
            <a:extLst>
              <a:ext uri="{FF2B5EF4-FFF2-40B4-BE49-F238E27FC236}">
                <a16:creationId xmlns:a16="http://schemas.microsoft.com/office/drawing/2014/main" id="{0BEECF5A-7C91-4939-916F-2A4685E90C0E}"/>
              </a:ext>
            </a:extLst>
          </p:cNvPr>
          <p:cNvCxnSpPr>
            <a:stCxn id="154" idx="0"/>
          </p:cNvCxnSpPr>
          <p:nvPr/>
        </p:nvCxnSpPr>
        <p:spPr>
          <a:xfrm flipH="1" flipV="1">
            <a:off x="5038632" y="3186968"/>
            <a:ext cx="1226" cy="364832"/>
          </a:xfrm>
          <a:prstGeom prst="line">
            <a:avLst/>
          </a:prstGeom>
          <a:noFill/>
          <a:ln w="6350" cap="flat" cmpd="sng" algn="ctr">
            <a:solidFill>
              <a:srgbClr val="5B9BD5"/>
            </a:solidFill>
            <a:prstDash val="solid"/>
            <a:miter lim="800000"/>
          </a:ln>
          <a:effectLst/>
        </p:spPr>
      </p:cxnSp>
      <p:sp>
        <p:nvSpPr>
          <p:cNvPr id="157" name="楕円 157">
            <a:extLst>
              <a:ext uri="{FF2B5EF4-FFF2-40B4-BE49-F238E27FC236}">
                <a16:creationId xmlns:a16="http://schemas.microsoft.com/office/drawing/2014/main" id="{6FBE3E88-512B-4665-BD2D-B93154EE72A4}"/>
              </a:ext>
            </a:extLst>
          </p:cNvPr>
          <p:cNvSpPr/>
          <p:nvPr/>
        </p:nvSpPr>
        <p:spPr>
          <a:xfrm>
            <a:off x="5953837" y="3549454"/>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58" name="テキスト ボックス 158">
            <a:extLst>
              <a:ext uri="{FF2B5EF4-FFF2-40B4-BE49-F238E27FC236}">
                <a16:creationId xmlns:a16="http://schemas.microsoft.com/office/drawing/2014/main" id="{A61CFF43-66CB-4160-B3E1-8D6819DF541F}"/>
              </a:ext>
            </a:extLst>
          </p:cNvPr>
          <p:cNvSpPr txBox="1"/>
          <p:nvPr/>
        </p:nvSpPr>
        <p:spPr>
          <a:xfrm>
            <a:off x="5640960" y="3437712"/>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59" name="直線コネクタ 159">
            <a:extLst>
              <a:ext uri="{FF2B5EF4-FFF2-40B4-BE49-F238E27FC236}">
                <a16:creationId xmlns:a16="http://schemas.microsoft.com/office/drawing/2014/main" id="{373F81BE-1925-4C3C-ACFF-E16A932EA8C2}"/>
              </a:ext>
            </a:extLst>
          </p:cNvPr>
          <p:cNvCxnSpPr>
            <a:stCxn id="157" idx="0"/>
          </p:cNvCxnSpPr>
          <p:nvPr/>
        </p:nvCxnSpPr>
        <p:spPr>
          <a:xfrm flipH="1" flipV="1">
            <a:off x="6032277" y="3186967"/>
            <a:ext cx="14674" cy="362487"/>
          </a:xfrm>
          <a:prstGeom prst="line">
            <a:avLst/>
          </a:prstGeom>
          <a:noFill/>
          <a:ln w="6350" cap="flat" cmpd="sng" algn="ctr">
            <a:solidFill>
              <a:srgbClr val="5B9BD5"/>
            </a:solidFill>
            <a:prstDash val="solid"/>
            <a:miter lim="800000"/>
          </a:ln>
          <a:effectLst/>
        </p:spPr>
      </p:cxnSp>
      <p:sp>
        <p:nvSpPr>
          <p:cNvPr id="160" name="正方形/長方形 160">
            <a:extLst>
              <a:ext uri="{FF2B5EF4-FFF2-40B4-BE49-F238E27FC236}">
                <a16:creationId xmlns:a16="http://schemas.microsoft.com/office/drawing/2014/main" id="{B7E08D18-4076-4D68-8E45-17AAC042C90E}"/>
              </a:ext>
            </a:extLst>
          </p:cNvPr>
          <p:cNvSpPr/>
          <p:nvPr/>
        </p:nvSpPr>
        <p:spPr>
          <a:xfrm>
            <a:off x="1343163" y="2700298"/>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Maa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p>
        </p:txBody>
      </p:sp>
      <p:sp>
        <p:nvSpPr>
          <p:cNvPr id="161" name="正方形/長方形 161">
            <a:extLst>
              <a:ext uri="{FF2B5EF4-FFF2-40B4-BE49-F238E27FC236}">
                <a16:creationId xmlns:a16="http://schemas.microsoft.com/office/drawing/2014/main" id="{B7D13D2C-9C3B-40C6-A1DF-8D0154BEFD1C}"/>
              </a:ext>
            </a:extLst>
          </p:cNvPr>
          <p:cNvSpPr/>
          <p:nvPr/>
        </p:nvSpPr>
        <p:spPr>
          <a:xfrm>
            <a:off x="2411647" y="2702456"/>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ヘルスケア情報</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p>
        </p:txBody>
      </p:sp>
      <p:sp>
        <p:nvSpPr>
          <p:cNvPr id="162" name="正方形/長方形 162">
            <a:extLst>
              <a:ext uri="{FF2B5EF4-FFF2-40B4-BE49-F238E27FC236}">
                <a16:creationId xmlns:a16="http://schemas.microsoft.com/office/drawing/2014/main" id="{9714387C-BBFD-4151-86FF-CC868BCBD523}"/>
              </a:ext>
            </a:extLst>
          </p:cNvPr>
          <p:cNvSpPr/>
          <p:nvPr/>
        </p:nvSpPr>
        <p:spPr>
          <a:xfrm>
            <a:off x="3464056" y="2702877"/>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文システム</a:t>
            </a:r>
          </a:p>
        </p:txBody>
      </p:sp>
      <p:sp>
        <p:nvSpPr>
          <p:cNvPr id="163" name="正方形/長方形 163">
            <a:extLst>
              <a:ext uri="{FF2B5EF4-FFF2-40B4-BE49-F238E27FC236}">
                <a16:creationId xmlns:a16="http://schemas.microsoft.com/office/drawing/2014/main" id="{768FBB81-426E-4591-B70C-322BE9470979}"/>
              </a:ext>
            </a:extLst>
          </p:cNvPr>
          <p:cNvSpPr/>
          <p:nvPr/>
        </p:nvSpPr>
        <p:spPr>
          <a:xfrm>
            <a:off x="4524366" y="2704680"/>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配送支援</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p>
        </p:txBody>
      </p:sp>
      <p:sp>
        <p:nvSpPr>
          <p:cNvPr id="164" name="正方形/長方形 164">
            <a:extLst>
              <a:ext uri="{FF2B5EF4-FFF2-40B4-BE49-F238E27FC236}">
                <a16:creationId xmlns:a16="http://schemas.microsoft.com/office/drawing/2014/main" id="{AC4D7AE6-EA0A-44D4-AA71-93EFB10994FA}"/>
              </a:ext>
            </a:extLst>
          </p:cNvPr>
          <p:cNvSpPr/>
          <p:nvPr/>
        </p:nvSpPr>
        <p:spPr>
          <a:xfrm>
            <a:off x="5569849" y="2705650"/>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アプリ</a:t>
            </a:r>
          </a:p>
        </p:txBody>
      </p:sp>
      <p:sp>
        <p:nvSpPr>
          <p:cNvPr id="165" name="楕円 165">
            <a:extLst>
              <a:ext uri="{FF2B5EF4-FFF2-40B4-BE49-F238E27FC236}">
                <a16:creationId xmlns:a16="http://schemas.microsoft.com/office/drawing/2014/main" id="{1A008B31-6AB6-4910-8335-DEC32D63797B}"/>
              </a:ext>
            </a:extLst>
          </p:cNvPr>
          <p:cNvSpPr/>
          <p:nvPr/>
        </p:nvSpPr>
        <p:spPr>
          <a:xfrm>
            <a:off x="3098898" y="4782461"/>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6" name="テキスト ボックス 166">
            <a:extLst>
              <a:ext uri="{FF2B5EF4-FFF2-40B4-BE49-F238E27FC236}">
                <a16:creationId xmlns:a16="http://schemas.microsoft.com/office/drawing/2014/main" id="{C1A605B2-0710-4E72-A579-0ACB0ADBEDCB}"/>
              </a:ext>
            </a:extLst>
          </p:cNvPr>
          <p:cNvSpPr txBox="1"/>
          <p:nvPr/>
        </p:nvSpPr>
        <p:spPr>
          <a:xfrm>
            <a:off x="2751423" y="4667839"/>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 name="円柱 169">
            <a:extLst>
              <a:ext uri="{FF2B5EF4-FFF2-40B4-BE49-F238E27FC236}">
                <a16:creationId xmlns:a16="http://schemas.microsoft.com/office/drawing/2014/main" id="{07D632A8-B6D4-43AE-96E8-63919D6114C6}"/>
              </a:ext>
            </a:extLst>
          </p:cNvPr>
          <p:cNvSpPr/>
          <p:nvPr/>
        </p:nvSpPr>
        <p:spPr>
          <a:xfrm>
            <a:off x="5912087" y="4892536"/>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0" name="テキスト ボックス 170">
            <a:extLst>
              <a:ext uri="{FF2B5EF4-FFF2-40B4-BE49-F238E27FC236}">
                <a16:creationId xmlns:a16="http://schemas.microsoft.com/office/drawing/2014/main" id="{A4693C0D-03D2-4F58-A2B6-07E5A9175322}"/>
              </a:ext>
            </a:extLst>
          </p:cNvPr>
          <p:cNvSpPr txBox="1"/>
          <p:nvPr/>
        </p:nvSpPr>
        <p:spPr>
          <a:xfrm>
            <a:off x="5828418" y="5506111"/>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株）</a:t>
            </a:r>
            <a:r>
              <a:rPr kumimoji="1" lang="en-US" altLang="ja-JP" sz="738"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171" name="テキスト ボックス 172">
            <a:extLst>
              <a:ext uri="{FF2B5EF4-FFF2-40B4-BE49-F238E27FC236}">
                <a16:creationId xmlns:a16="http://schemas.microsoft.com/office/drawing/2014/main" id="{D26B3654-4DBC-48CC-887E-BCBA0CE14C40}"/>
              </a:ext>
            </a:extLst>
          </p:cNvPr>
          <p:cNvSpPr txBox="1"/>
          <p:nvPr/>
        </p:nvSpPr>
        <p:spPr>
          <a:xfrm>
            <a:off x="1346845" y="2395933"/>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交通事業者●●</a:t>
            </a:r>
            <a:r>
              <a:rPr kumimoji="1" lang="en-US" altLang="ja-JP" sz="738"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72" name="テキスト ボックス 86">
            <a:extLst>
              <a:ext uri="{FF2B5EF4-FFF2-40B4-BE49-F238E27FC236}">
                <a16:creationId xmlns:a16="http://schemas.microsoft.com/office/drawing/2014/main" id="{1FCC10B8-4BB4-45BC-A0B2-44B7D2D35B2B}"/>
              </a:ext>
            </a:extLst>
          </p:cNvPr>
          <p:cNvSpPr txBox="1"/>
          <p:nvPr/>
        </p:nvSpPr>
        <p:spPr>
          <a:xfrm>
            <a:off x="4013039" y="4541634"/>
            <a:ext cx="58320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手入力</a:t>
            </a:r>
          </a:p>
        </p:txBody>
      </p:sp>
      <p:sp>
        <p:nvSpPr>
          <p:cNvPr id="173" name="テキスト ボックス 87">
            <a:extLst>
              <a:ext uri="{FF2B5EF4-FFF2-40B4-BE49-F238E27FC236}">
                <a16:creationId xmlns:a16="http://schemas.microsoft.com/office/drawing/2014/main" id="{EC81891E-FC35-4BE8-BB36-37BE1E9A5581}"/>
              </a:ext>
            </a:extLst>
          </p:cNvPr>
          <p:cNvSpPr txBox="1"/>
          <p:nvPr/>
        </p:nvSpPr>
        <p:spPr>
          <a:xfrm>
            <a:off x="4815411" y="4397504"/>
            <a:ext cx="747390"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蓄積方式</a:t>
            </a:r>
          </a:p>
        </p:txBody>
      </p:sp>
      <p:sp>
        <p:nvSpPr>
          <p:cNvPr id="2" name="正方形/長方形 1">
            <a:extLst>
              <a:ext uri="{FF2B5EF4-FFF2-40B4-BE49-F238E27FC236}">
                <a16:creationId xmlns:a16="http://schemas.microsoft.com/office/drawing/2014/main" id="{F3C082F0-73BF-4249-AEA9-4BFDD6F612D3}"/>
              </a:ext>
            </a:extLst>
          </p:cNvPr>
          <p:cNvSpPr/>
          <p:nvPr/>
        </p:nvSpPr>
        <p:spPr>
          <a:xfrm>
            <a:off x="150080" y="2348880"/>
            <a:ext cx="8843840" cy="3448653"/>
          </a:xfrm>
          <a:prstGeom prst="rect">
            <a:avLst/>
          </a:pr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76" name="正方形/長方形 164">
            <a:extLst>
              <a:ext uri="{FF2B5EF4-FFF2-40B4-BE49-F238E27FC236}">
                <a16:creationId xmlns:a16="http://schemas.microsoft.com/office/drawing/2014/main" id="{DE88E11F-3B82-4D16-945F-45047ADC1881}"/>
              </a:ext>
            </a:extLst>
          </p:cNvPr>
          <p:cNvSpPr/>
          <p:nvPr/>
        </p:nvSpPr>
        <p:spPr>
          <a:xfrm>
            <a:off x="7603987" y="2368390"/>
            <a:ext cx="1394796" cy="346989"/>
          </a:xfrm>
          <a:prstGeom prst="rect">
            <a:avLst/>
          </a:prstGeom>
          <a:solidFill>
            <a:schemeClr val="bg1">
              <a:lumMod val="75000"/>
            </a:schemeClr>
          </a:solidFill>
          <a:ln>
            <a:solidFill>
              <a:schemeClr val="bg1">
                <a:lumMod val="5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構成図の例</a:t>
            </a:r>
            <a:endParaRPr kumimoji="1" lang="ja-JP" altLang="en-US" sz="11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1855746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 name="Rectangle 66"/>
          <p:cNvSpPr>
            <a:spLocks noChangeArrowheads="1"/>
          </p:cNvSpPr>
          <p:nvPr/>
        </p:nvSpPr>
        <p:spPr>
          <a:xfrm>
            <a:off x="122626" y="929277"/>
            <a:ext cx="8550951" cy="915547"/>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332"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０．その他</a:t>
            </a:r>
            <a:endPar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33" name="Text Box 4"/>
          <p:cNvSpPr txBox="1">
            <a:spLocks noChangeArrowheads="1"/>
          </p:cNvSpPr>
          <p:nvPr/>
        </p:nvSpPr>
        <p:spPr>
          <a:xfrm>
            <a:off x="25926" y="502711"/>
            <a:ext cx="5626193"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ＭＳ Ｐゴシック"/>
                <a:ea typeface="ＭＳ Ｐゴシック"/>
                <a:cs typeface="+mn-cs"/>
              </a:rPr>
              <a:t>関連法令、各地域でのルール・ガイドライン</a:t>
            </a:r>
          </a:p>
        </p:txBody>
      </p:sp>
      <p:sp>
        <p:nvSpPr>
          <p:cNvPr id="1334" name="正方形/長方形 18"/>
          <p:cNvSpPr/>
          <p:nvPr/>
        </p:nvSpPr>
        <p:spPr>
          <a:xfrm>
            <a:off x="66892" y="2539428"/>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sysClr val="windowText" lastClr="000000"/>
              </a:solidFill>
              <a:effectLst/>
              <a:uLnTx/>
              <a:uFillTx/>
              <a:latin typeface="Arial"/>
              <a:ea typeface="ＭＳ Ｐゴシック"/>
              <a:cs typeface="+mn-cs"/>
            </a:endParaRPr>
          </a:p>
        </p:txBody>
      </p:sp>
      <p:sp>
        <p:nvSpPr>
          <p:cNvPr id="1335" name="正方形/長方形 22"/>
          <p:cNvSpPr/>
          <p:nvPr/>
        </p:nvSpPr>
        <p:spPr>
          <a:xfrm>
            <a:off x="90767" y="908720"/>
            <a:ext cx="8418759" cy="954107"/>
          </a:xfrm>
          <a:prstGeom prst="rect">
            <a:avLst/>
          </a:prstGeom>
        </p:spPr>
        <p:txBody>
          <a:bodyPr wrap="square">
            <a:spAutoFit/>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提案内容のうち、スマートシティの関連法令（法令・条例）への対応や各地域でのルール・ガイドラインの策定、施策効果最大化のための制度の活用など、「スマートシティリファレンスアーキテクチャ」において「スマートシティルール」と整理されている事項について、ホワイトペーパー第４章を参照し、記載すること</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特筆すべきものがあれば）</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337" name="Rectangle 66"/>
          <p:cNvSpPr>
            <a:spLocks noChangeArrowheads="1"/>
          </p:cNvSpPr>
          <p:nvPr/>
        </p:nvSpPr>
        <p:spPr>
          <a:xfrm>
            <a:off x="122626" y="3722903"/>
            <a:ext cx="8550951" cy="2709502"/>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338" name="Text Box 4"/>
          <p:cNvSpPr txBox="1">
            <a:spLocks noChangeArrowheads="1"/>
          </p:cNvSpPr>
          <p:nvPr/>
        </p:nvSpPr>
        <p:spPr>
          <a:xfrm>
            <a:off x="25926" y="3284984"/>
            <a:ext cx="5626193"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ＭＳ Ｐゴシック"/>
                <a:ea typeface="ＭＳ Ｐゴシック"/>
                <a:cs typeface="+mn-cs"/>
              </a:rPr>
              <a:t>ＰＲポイント</a:t>
            </a:r>
          </a:p>
        </p:txBody>
      </p:sp>
      <p:sp>
        <p:nvSpPr>
          <p:cNvPr id="1339" name="正方形/長方形 10"/>
          <p:cNvSpPr/>
          <p:nvPr/>
        </p:nvSpPr>
        <p:spPr>
          <a:xfrm>
            <a:off x="122626" y="3769295"/>
            <a:ext cx="8418759" cy="307777"/>
          </a:xfrm>
          <a:prstGeom prst="rect">
            <a:avLst/>
          </a:prstGeom>
        </p:spPr>
        <p:txBody>
          <a:bodyPr wrap="square">
            <a:spAutoFit/>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ここまでの記載内容以外に、事業全体としてのＰＲポイントがあれば、記載すること。</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340" name="正方形/長方形 68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341" name="テキスト 679"/>
          <p:cNvSpPr txBox="1"/>
          <p:nvPr/>
        </p:nvSpPr>
        <p:spPr>
          <a:xfrm>
            <a:off x="2990356" y="6506492"/>
            <a:ext cx="6155841" cy="306884"/>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rPr>
              <a:t>※応募事業に関連のない場合は記載しなくても良い（詳細は別紙２参照）</a:t>
            </a: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3"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1D08FF65-CCB3-433B-BD61-39E8B773BB37}"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13</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4" name="Rectangle 66">
            <a:extLst>
              <a:ext uri="{FF2B5EF4-FFF2-40B4-BE49-F238E27FC236}">
                <a16:creationId xmlns:a16="http://schemas.microsoft.com/office/drawing/2014/main" id="{C6F29D5C-CEF6-4E01-8288-66FC7ED52D26}"/>
              </a:ext>
            </a:extLst>
          </p:cNvPr>
          <p:cNvSpPr>
            <a:spLocks noChangeArrowheads="1"/>
          </p:cNvSpPr>
          <p:nvPr/>
        </p:nvSpPr>
        <p:spPr>
          <a:xfrm>
            <a:off x="132196" y="2297429"/>
            <a:ext cx="8550951" cy="915547"/>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5" name="Text Box 4">
            <a:extLst>
              <a:ext uri="{FF2B5EF4-FFF2-40B4-BE49-F238E27FC236}">
                <a16:creationId xmlns:a16="http://schemas.microsoft.com/office/drawing/2014/main" id="{D9D7E4D2-1912-4930-83D3-1287BF36DD7E}"/>
              </a:ext>
            </a:extLst>
          </p:cNvPr>
          <p:cNvSpPr txBox="1">
            <a:spLocks noChangeArrowheads="1"/>
          </p:cNvSpPr>
          <p:nvPr/>
        </p:nvSpPr>
        <p:spPr>
          <a:xfrm>
            <a:off x="35496" y="1870863"/>
            <a:ext cx="5626193"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ＭＳ Ｐゴシック"/>
                <a:ea typeface="ＭＳ Ｐゴシック"/>
                <a:cs typeface="+mn-cs"/>
              </a:rPr>
              <a:t>セキュリティ対策</a:t>
            </a:r>
          </a:p>
        </p:txBody>
      </p:sp>
      <p:sp>
        <p:nvSpPr>
          <p:cNvPr id="16" name="正方形/長方形 22">
            <a:extLst>
              <a:ext uri="{FF2B5EF4-FFF2-40B4-BE49-F238E27FC236}">
                <a16:creationId xmlns:a16="http://schemas.microsoft.com/office/drawing/2014/main" id="{1B738386-3AA9-4E3D-A783-61134EB48587}"/>
              </a:ext>
            </a:extLst>
          </p:cNvPr>
          <p:cNvSpPr/>
          <p:nvPr/>
        </p:nvSpPr>
        <p:spPr>
          <a:xfrm>
            <a:off x="100337" y="2276872"/>
            <a:ext cx="8418759" cy="738664"/>
          </a:xfrm>
          <a:prstGeom prst="rect">
            <a:avLst/>
          </a:prstGeom>
        </p:spPr>
        <p:txBody>
          <a:bodyPr wrap="square">
            <a:spAutoFit/>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ja-JP" altLang="en-US" sz="1400" b="0" i="1" u="none" strike="noStrike" kern="100" cap="none" spc="0" normalizeH="0" baseline="0" noProof="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スマートシティセキュリティガイドライン（第</a:t>
            </a:r>
            <a:r>
              <a:rPr kumimoji="1" lang="en-US" altLang="ja-JP" sz="1400" b="0" i="1" u="none" strike="noStrike" kern="100" cap="none" spc="0" normalizeH="0" baseline="0" noProof="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2.0</a:t>
            </a:r>
            <a:r>
              <a:rPr kumimoji="1" lang="ja-JP" altLang="en-US" sz="1400" b="0" i="1" u="none" strike="noStrike" kern="100" cap="none" spc="0" normalizeH="0" baseline="0" noProof="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版）を参考に、</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セキュリティ対策の実施状況について記載。応募事業に関連する範囲で、</a:t>
            </a:r>
            <a:r>
              <a:rPr kumimoji="1" lang="ja-JP" altLang="en-US" sz="1400" b="0" i="1" u="none" strike="noStrike" kern="100" cap="none" spc="0" normalizeH="0" baseline="0" noProof="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後出のスマートシティセキュリティガイドライン導入チェックシートにも記載すること。</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15892166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7"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348"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１．スケジュール</a:t>
            </a:r>
            <a:endPar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49"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中長期スケジュール</a:t>
            </a:r>
          </a:p>
        </p:txBody>
      </p:sp>
      <p:sp>
        <p:nvSpPr>
          <p:cNvPr id="1350" name="正方形/長方形 22"/>
          <p:cNvSpPr/>
          <p:nvPr/>
        </p:nvSpPr>
        <p:spPr>
          <a:xfrm>
            <a:off x="108536" y="1084321"/>
            <a:ext cx="8712285" cy="73866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提案事業が解決を目指す地域課題に対する取組全体の中長期（</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5</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年程度）のスケジュールを整理し、提案事業を明示して記入すること</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p:txBody>
      </p:sp>
      <p:sp>
        <p:nvSpPr>
          <p:cNvPr id="1351" name="正方形/長方形 1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graphicFrame>
        <p:nvGraphicFramePr>
          <p:cNvPr id="1353" name="表 79"/>
          <p:cNvGraphicFramePr>
            <a:graphicFrameLocks noGrp="1"/>
          </p:cNvGraphicFramePr>
          <p:nvPr/>
        </p:nvGraphicFramePr>
        <p:xfrm>
          <a:off x="240811" y="1916832"/>
          <a:ext cx="8676709" cy="4304196"/>
        </p:xfrm>
        <a:graphic>
          <a:graphicData uri="http://schemas.openxmlformats.org/drawingml/2006/table">
            <a:tbl>
              <a:tblPr firstRow="1" bandRow="1"/>
              <a:tblGrid>
                <a:gridCol w="855023">
                  <a:extLst>
                    <a:ext uri="{9D8B030D-6E8A-4147-A177-3AD203B41FA5}">
                      <a16:colId xmlns:a16="http://schemas.microsoft.com/office/drawing/2014/main" val="20000"/>
                    </a:ext>
                  </a:extLst>
                </a:gridCol>
                <a:gridCol w="1404289">
                  <a:extLst>
                    <a:ext uri="{9D8B030D-6E8A-4147-A177-3AD203B41FA5}">
                      <a16:colId xmlns:a16="http://schemas.microsoft.com/office/drawing/2014/main" val="20001"/>
                    </a:ext>
                  </a:extLst>
                </a:gridCol>
                <a:gridCol w="1600477">
                  <a:extLst>
                    <a:ext uri="{9D8B030D-6E8A-4147-A177-3AD203B41FA5}">
                      <a16:colId xmlns:a16="http://schemas.microsoft.com/office/drawing/2014/main" val="20002"/>
                    </a:ext>
                  </a:extLst>
                </a:gridCol>
                <a:gridCol w="1605640">
                  <a:extLst>
                    <a:ext uri="{9D8B030D-6E8A-4147-A177-3AD203B41FA5}">
                      <a16:colId xmlns:a16="http://schemas.microsoft.com/office/drawing/2014/main" val="20003"/>
                    </a:ext>
                  </a:extLst>
                </a:gridCol>
                <a:gridCol w="1605640">
                  <a:extLst>
                    <a:ext uri="{9D8B030D-6E8A-4147-A177-3AD203B41FA5}">
                      <a16:colId xmlns:a16="http://schemas.microsoft.com/office/drawing/2014/main" val="20004"/>
                    </a:ext>
                  </a:extLst>
                </a:gridCol>
                <a:gridCol w="1605640">
                  <a:extLst>
                    <a:ext uri="{9D8B030D-6E8A-4147-A177-3AD203B41FA5}">
                      <a16:colId xmlns:a16="http://schemas.microsoft.com/office/drawing/2014/main" val="20005"/>
                    </a:ext>
                  </a:extLst>
                </a:gridCol>
              </a:tblGrid>
              <a:tr h="267355">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a:solidFill>
                            <a:schemeClr val="bg1"/>
                          </a:solidFill>
                          <a:latin typeface="Meiryo UI" panose="020B0604030504040204" pitchFamily="50" charset="-128"/>
                          <a:ea typeface="Meiryo UI" panose="020B0604030504040204" pitchFamily="50" charset="-128"/>
                        </a:rPr>
                        <a:t>2025</a:t>
                      </a:r>
                      <a:r>
                        <a:rPr kumimoji="1" lang="ja-JP" altLang="en-US" sz="120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a:solidFill>
                            <a:schemeClr val="bg1"/>
                          </a:solidFill>
                          <a:latin typeface="Meiryo UI" panose="020B0604030504040204" pitchFamily="50" charset="-128"/>
                          <a:ea typeface="Meiryo UI" panose="020B0604030504040204" pitchFamily="50" charset="-128"/>
                        </a:rPr>
                        <a:t>2026</a:t>
                      </a:r>
                      <a:r>
                        <a:rPr kumimoji="1" lang="ja-JP" altLang="en-US" sz="120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a:solidFill>
                            <a:schemeClr val="bg1"/>
                          </a:solidFill>
                          <a:latin typeface="Meiryo UI" panose="020B0604030504040204" pitchFamily="50" charset="-128"/>
                          <a:ea typeface="Meiryo UI" panose="020B0604030504040204" pitchFamily="50" charset="-128"/>
                        </a:rPr>
                        <a:t>2027</a:t>
                      </a:r>
                      <a:r>
                        <a:rPr kumimoji="1" lang="ja-JP" altLang="en-US" sz="120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2028</a:t>
                      </a:r>
                      <a:r>
                        <a:rPr kumimoji="1" lang="ja-JP" altLang="en-US"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a:solidFill>
                            <a:schemeClr val="bg1"/>
                          </a:solidFill>
                          <a:latin typeface="Meiryo UI" panose="020B0604030504040204" pitchFamily="50" charset="-128"/>
                          <a:ea typeface="Meiryo UI" panose="020B0604030504040204" pitchFamily="50" charset="-128"/>
                        </a:rPr>
                        <a:t>2029</a:t>
                      </a:r>
                      <a:r>
                        <a:rPr kumimoji="1" lang="ja-JP" altLang="en-US" sz="1200" b="1">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49293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623827">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〇〇〇〇</a:t>
                      </a:r>
                      <a:endParaRPr kumimoji="1" lang="en-US" altLang="ja-JP" sz="120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623827">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〇〇〇〇</a:t>
                      </a:r>
                      <a:endParaRPr kumimoji="1" lang="en-US" altLang="ja-JP" sz="1200">
                        <a:latin typeface="Meiryo UI" panose="020B0604030504040204" pitchFamily="50" charset="-128"/>
                        <a:ea typeface="Meiryo UI" panose="020B0604030504040204" pitchFamily="50" charset="-128"/>
                      </a:endParaRPr>
                    </a:p>
                    <a:p>
                      <a:r>
                        <a:rPr kumimoji="1" lang="ja-JP" altLang="en-US" sz="120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623827">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a:latin typeface="Meiryo UI" panose="020B0604030504040204" pitchFamily="50" charset="-128"/>
                          <a:ea typeface="Meiryo UI" panose="020B0604030504040204" pitchFamily="50" charset="-128"/>
                        </a:rPr>
                        <a:t>〇〇〇〇</a:t>
                      </a:r>
                      <a:endParaRPr kumimoji="1" lang="en-US" altLang="ja-JP" sz="1200">
                        <a:latin typeface="Meiryo UI" panose="020B0604030504040204" pitchFamily="50" charset="-128"/>
                        <a:ea typeface="Meiryo UI" panose="020B0604030504040204" pitchFamily="50" charset="-128"/>
                      </a:endParaRPr>
                    </a:p>
                    <a:p>
                      <a:r>
                        <a:rPr kumimoji="1" lang="ja-JP" altLang="en-US" sz="120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43237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50704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677285">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r>
                        <a:rPr lang="ja-JP" altLang="en-US" sz="1200">
                          <a:latin typeface="Meiryo UI" panose="020B0604030504040204" pitchFamily="50" charset="-128"/>
                          <a:ea typeface="Meiryo UI" panose="020B0604030504040204" pitchFamily="50" charset="-128"/>
                        </a:rPr>
                        <a:t>データ連携基盤</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1354" name="右矢印 80"/>
          <p:cNvSpPr/>
          <p:nvPr/>
        </p:nvSpPr>
        <p:spPr>
          <a:xfrm>
            <a:off x="1157837" y="3107755"/>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5" name="テキスト ボックス 81"/>
          <p:cNvSpPr txBox="1"/>
          <p:nvPr/>
        </p:nvSpPr>
        <p:spPr>
          <a:xfrm>
            <a:off x="1060979" y="2906599"/>
            <a:ext cx="7520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証</a:t>
            </a:r>
          </a:p>
        </p:txBody>
      </p:sp>
      <p:sp>
        <p:nvSpPr>
          <p:cNvPr id="1356" name="テキスト ボックス 82"/>
          <p:cNvSpPr txBox="1"/>
          <p:nvPr/>
        </p:nvSpPr>
        <p:spPr>
          <a:xfrm>
            <a:off x="2546104" y="2916844"/>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1357" name="右矢印 83"/>
          <p:cNvSpPr/>
          <p:nvPr/>
        </p:nvSpPr>
        <p:spPr>
          <a:xfrm>
            <a:off x="2714073" y="3112409"/>
            <a:ext cx="6084000" cy="18925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8" name="右矢印 84"/>
          <p:cNvSpPr/>
          <p:nvPr/>
        </p:nvSpPr>
        <p:spPr>
          <a:xfrm>
            <a:off x="2516003" y="3770706"/>
            <a:ext cx="1540723" cy="175917"/>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9" name="テキスト ボックス 85"/>
          <p:cNvSpPr txBox="1"/>
          <p:nvPr/>
        </p:nvSpPr>
        <p:spPr>
          <a:xfrm>
            <a:off x="2392101" y="3523950"/>
            <a:ext cx="7520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証</a:t>
            </a:r>
          </a:p>
        </p:txBody>
      </p:sp>
      <p:sp>
        <p:nvSpPr>
          <p:cNvPr id="1360" name="テキスト ボックス 86"/>
          <p:cNvSpPr txBox="1"/>
          <p:nvPr/>
        </p:nvSpPr>
        <p:spPr>
          <a:xfrm>
            <a:off x="4220543" y="3596706"/>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1361" name="右矢印 87"/>
          <p:cNvSpPr/>
          <p:nvPr/>
        </p:nvSpPr>
        <p:spPr>
          <a:xfrm>
            <a:off x="4280978" y="3775445"/>
            <a:ext cx="4464000" cy="171178"/>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62" name="テキスト ボックス 88"/>
          <p:cNvSpPr txBox="1"/>
          <p:nvPr/>
        </p:nvSpPr>
        <p:spPr>
          <a:xfrm>
            <a:off x="539552" y="4653136"/>
            <a:ext cx="342909" cy="86177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5" name="グループ化 4">
            <a:extLst>
              <a:ext uri="{FF2B5EF4-FFF2-40B4-BE49-F238E27FC236}">
                <a16:creationId xmlns:a16="http://schemas.microsoft.com/office/drawing/2014/main" id="{C045F559-38E8-3AC3-98E4-68CA692C8C4C}"/>
              </a:ext>
            </a:extLst>
          </p:cNvPr>
          <p:cNvGrpSpPr/>
          <p:nvPr/>
        </p:nvGrpSpPr>
        <p:grpSpPr>
          <a:xfrm>
            <a:off x="1067352" y="5661248"/>
            <a:ext cx="7274001" cy="414943"/>
            <a:chOff x="1067352" y="5949280"/>
            <a:chExt cx="7274001" cy="414943"/>
          </a:xfrm>
        </p:grpSpPr>
        <p:sp>
          <p:nvSpPr>
            <p:cNvPr id="1363" name="山形 89"/>
            <p:cNvSpPr/>
            <p:nvPr/>
          </p:nvSpPr>
          <p:spPr>
            <a:xfrm>
              <a:off x="7960601" y="621116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4" name="山形 90"/>
            <p:cNvSpPr/>
            <p:nvPr/>
          </p:nvSpPr>
          <p:spPr>
            <a:xfrm>
              <a:off x="1147992" y="6212472"/>
              <a:ext cx="972000" cy="111872"/>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5" name="山形 91"/>
            <p:cNvSpPr/>
            <p:nvPr/>
          </p:nvSpPr>
          <p:spPr>
            <a:xfrm>
              <a:off x="5850453" y="62152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6" name="山形 92"/>
            <p:cNvSpPr/>
            <p:nvPr/>
          </p:nvSpPr>
          <p:spPr>
            <a:xfrm>
              <a:off x="6278344" y="621074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7" name="山形 93"/>
            <p:cNvSpPr/>
            <p:nvPr/>
          </p:nvSpPr>
          <p:spPr>
            <a:xfrm>
              <a:off x="6699580" y="621438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8" name="山形 94"/>
            <p:cNvSpPr/>
            <p:nvPr/>
          </p:nvSpPr>
          <p:spPr>
            <a:xfrm>
              <a:off x="7127472" y="621074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9" name="山形 95"/>
            <p:cNvSpPr/>
            <p:nvPr/>
          </p:nvSpPr>
          <p:spPr>
            <a:xfrm>
              <a:off x="7555364" y="621116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0" name="テキスト ボックス 96"/>
            <p:cNvSpPr txBox="1"/>
            <p:nvPr/>
          </p:nvSpPr>
          <p:spPr>
            <a:xfrm>
              <a:off x="1067352" y="5949280"/>
              <a:ext cx="138827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開発</a:t>
              </a:r>
            </a:p>
          </p:txBody>
        </p:sp>
        <p:sp>
          <p:nvSpPr>
            <p:cNvPr id="1371" name="山形 97"/>
            <p:cNvSpPr/>
            <p:nvPr/>
          </p:nvSpPr>
          <p:spPr>
            <a:xfrm>
              <a:off x="2921823" y="621116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2" name="山形 98"/>
            <p:cNvSpPr/>
            <p:nvPr/>
          </p:nvSpPr>
          <p:spPr>
            <a:xfrm>
              <a:off x="3343059" y="6214806"/>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3" name="山形 99"/>
            <p:cNvSpPr/>
            <p:nvPr/>
          </p:nvSpPr>
          <p:spPr>
            <a:xfrm>
              <a:off x="3770951" y="621116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4" name="山形 100"/>
            <p:cNvSpPr/>
            <p:nvPr/>
          </p:nvSpPr>
          <p:spPr>
            <a:xfrm>
              <a:off x="4190051" y="6211594"/>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5" name="山形 101"/>
            <p:cNvSpPr/>
            <p:nvPr/>
          </p:nvSpPr>
          <p:spPr>
            <a:xfrm>
              <a:off x="4607015" y="621074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6" name="山形 102"/>
            <p:cNvSpPr/>
            <p:nvPr/>
          </p:nvSpPr>
          <p:spPr>
            <a:xfrm>
              <a:off x="5028251" y="621438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7" name="山形 103"/>
            <p:cNvSpPr/>
            <p:nvPr/>
          </p:nvSpPr>
          <p:spPr>
            <a:xfrm>
              <a:off x="5438559" y="621074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8" name="山形 104"/>
            <p:cNvSpPr/>
            <p:nvPr/>
          </p:nvSpPr>
          <p:spPr>
            <a:xfrm>
              <a:off x="2510783" y="62085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9" name="テキスト ボックス 105"/>
            <p:cNvSpPr txBox="1"/>
            <p:nvPr/>
          </p:nvSpPr>
          <p:spPr>
            <a:xfrm>
              <a:off x="2014918" y="5953402"/>
              <a:ext cx="82889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運用開始</a:t>
              </a:r>
            </a:p>
          </p:txBody>
        </p:sp>
        <p:sp>
          <p:nvSpPr>
            <p:cNvPr id="1380" name="楕円 106"/>
            <p:cNvSpPr/>
            <p:nvPr/>
          </p:nvSpPr>
          <p:spPr>
            <a:xfrm>
              <a:off x="2222801" y="6203481"/>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sp>
        <p:nvSpPr>
          <p:cNvPr id="1381" name="右矢印 107"/>
          <p:cNvSpPr/>
          <p:nvPr/>
        </p:nvSpPr>
        <p:spPr>
          <a:xfrm>
            <a:off x="2743632" y="4420196"/>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2" name="右矢印 108"/>
          <p:cNvSpPr/>
          <p:nvPr/>
        </p:nvSpPr>
        <p:spPr>
          <a:xfrm>
            <a:off x="4346363" y="4399382"/>
            <a:ext cx="1390220" cy="185239"/>
          </a:xfrm>
          <a:prstGeom prst="rightArrow">
            <a:avLst/>
          </a:prstGeom>
          <a:solidFill>
            <a:srgbClr val="FFC000">
              <a:lumMod val="40000"/>
              <a:lumOff val="6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3" name="テキスト ボックス 109"/>
          <p:cNvSpPr txBox="1"/>
          <p:nvPr/>
        </p:nvSpPr>
        <p:spPr>
          <a:xfrm>
            <a:off x="2917276" y="4236528"/>
            <a:ext cx="7520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調査</a:t>
            </a:r>
          </a:p>
        </p:txBody>
      </p:sp>
      <p:sp>
        <p:nvSpPr>
          <p:cNvPr id="1384" name="テキスト ボックス 110"/>
          <p:cNvSpPr txBox="1"/>
          <p:nvPr/>
        </p:nvSpPr>
        <p:spPr>
          <a:xfrm>
            <a:off x="4275364" y="4242200"/>
            <a:ext cx="7520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証</a:t>
            </a:r>
          </a:p>
        </p:txBody>
      </p:sp>
      <p:sp>
        <p:nvSpPr>
          <p:cNvPr id="1385" name="右矢印 111"/>
          <p:cNvSpPr/>
          <p:nvPr/>
        </p:nvSpPr>
        <p:spPr>
          <a:xfrm>
            <a:off x="6250474" y="4411091"/>
            <a:ext cx="2484000" cy="17353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6" name="テキスト ボックス 112"/>
          <p:cNvSpPr txBox="1"/>
          <p:nvPr/>
        </p:nvSpPr>
        <p:spPr>
          <a:xfrm>
            <a:off x="6196282" y="4216536"/>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1387" name="楕円 113"/>
          <p:cNvSpPr/>
          <p:nvPr/>
        </p:nvSpPr>
        <p:spPr>
          <a:xfrm>
            <a:off x="3537922" y="224656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8" name="テキスト ボックス 114"/>
          <p:cNvSpPr txBox="1"/>
          <p:nvPr/>
        </p:nvSpPr>
        <p:spPr>
          <a:xfrm>
            <a:off x="2423136" y="2454118"/>
            <a:ext cx="185569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月：〇〇事業完成</a:t>
            </a:r>
          </a:p>
        </p:txBody>
      </p:sp>
      <p:sp>
        <p:nvSpPr>
          <p:cNvPr id="1389" name="楕円 117"/>
          <p:cNvSpPr/>
          <p:nvPr/>
        </p:nvSpPr>
        <p:spPr>
          <a:xfrm>
            <a:off x="4258002" y="2250317"/>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90" name="テキスト ボックス 118"/>
          <p:cNvSpPr txBox="1"/>
          <p:nvPr/>
        </p:nvSpPr>
        <p:spPr>
          <a:xfrm>
            <a:off x="3920297" y="2457870"/>
            <a:ext cx="203249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５月：国際イベント開催</a:t>
            </a:r>
          </a:p>
        </p:txBody>
      </p:sp>
      <p:sp>
        <p:nvSpPr>
          <p:cNvPr id="1391" name="楕円 119"/>
          <p:cNvSpPr/>
          <p:nvPr/>
        </p:nvSpPr>
        <p:spPr>
          <a:xfrm>
            <a:off x="2097762" y="224392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92" name="テキスト ボックス 120"/>
          <p:cNvSpPr txBox="1"/>
          <p:nvPr/>
        </p:nvSpPr>
        <p:spPr>
          <a:xfrm>
            <a:off x="1060979" y="2451285"/>
            <a:ext cx="185569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月：市庁舎完成</a:t>
            </a:r>
          </a:p>
        </p:txBody>
      </p:sp>
      <p:sp>
        <p:nvSpPr>
          <p:cNvPr id="48" name="正方形/長方形 4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E357BC4E-2BA1-4FDD-9054-7E6C98651431}"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14</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 name="正方形/長方形 2">
            <a:extLst>
              <a:ext uri="{FF2B5EF4-FFF2-40B4-BE49-F238E27FC236}">
                <a16:creationId xmlns:a16="http://schemas.microsoft.com/office/drawing/2014/main" id="{15370D2F-DBD5-CEA8-A1FB-F5F76C31A572}"/>
              </a:ext>
            </a:extLst>
          </p:cNvPr>
          <p:cNvSpPr/>
          <p:nvPr/>
        </p:nvSpPr>
        <p:spPr>
          <a:xfrm>
            <a:off x="240811" y="2708920"/>
            <a:ext cx="8676709" cy="618879"/>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4" name="吹き出し: 角を丸めた四角形 3">
            <a:extLst>
              <a:ext uri="{FF2B5EF4-FFF2-40B4-BE49-F238E27FC236}">
                <a16:creationId xmlns:a16="http://schemas.microsoft.com/office/drawing/2014/main" id="{90665569-4B09-75E6-E47D-B4F8EC632E43}"/>
              </a:ext>
            </a:extLst>
          </p:cNvPr>
          <p:cNvSpPr/>
          <p:nvPr/>
        </p:nvSpPr>
        <p:spPr>
          <a:xfrm>
            <a:off x="8083021" y="2266167"/>
            <a:ext cx="820168" cy="277000"/>
          </a:xfrm>
          <a:prstGeom prst="wedgeRoundRectCallout">
            <a:avLst>
              <a:gd name="adj1" fmla="val -33630"/>
              <a:gd name="adj2" fmla="val 107202"/>
              <a:gd name="adj3" fmla="val 16667"/>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000000"/>
                </a:solidFill>
                <a:effectLst/>
                <a:uLnTx/>
                <a:uFillTx/>
                <a:latin typeface="Arial"/>
                <a:ea typeface="ＭＳ Ｐゴシック"/>
                <a:cs typeface="+mn-cs"/>
              </a:rPr>
              <a:t>提案事業</a:t>
            </a:r>
          </a:p>
        </p:txBody>
      </p:sp>
      <p:sp>
        <p:nvSpPr>
          <p:cNvPr id="2" name="正方形/長方形 22">
            <a:extLst>
              <a:ext uri="{FF2B5EF4-FFF2-40B4-BE49-F238E27FC236}">
                <a16:creationId xmlns:a16="http://schemas.microsoft.com/office/drawing/2014/main" id="{EFE50919-728D-A7C3-5EB3-11EDFD902BFC}"/>
              </a:ext>
            </a:extLst>
          </p:cNvPr>
          <p:cNvSpPr/>
          <p:nvPr/>
        </p:nvSpPr>
        <p:spPr>
          <a:xfrm>
            <a:off x="180195" y="6237312"/>
            <a:ext cx="8737325" cy="52322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ＭＳ Ｐゴシック"/>
                <a:ea typeface="ＭＳ Ｐゴシック"/>
                <a:cs typeface="+mn-cs"/>
              </a:rPr>
              <a:t>　</a:t>
            </a:r>
            <a:r>
              <a:rPr kumimoji="1" lang="ja-JP" altLang="ja-JP" sz="1400" b="0" i="1" u="none" strike="noStrike" kern="1200" cap="none" spc="0" normalizeH="0" baseline="0" noProof="0">
                <a:ln>
                  <a:noFill/>
                </a:ln>
                <a:solidFill>
                  <a:srgbClr val="FF0000"/>
                </a:solidFill>
                <a:effectLst/>
                <a:uLnTx/>
                <a:uFillTx/>
                <a:latin typeface="ＭＳ Ｐゴシック"/>
                <a:ea typeface="ＭＳ Ｐゴシック"/>
                <a:cs typeface="ＭＳ Ｐゴシック" panose="020B0600070205080204" pitchFamily="50" charset="-128"/>
              </a:rPr>
              <a:t>未来技術社会実装事業に応募する団体については、</a:t>
            </a:r>
            <a:r>
              <a:rPr kumimoji="1" lang="ja-JP" altLang="en-US" sz="1400" b="0" i="1" u="none" strike="noStrike" kern="1200" cap="none" spc="0" normalizeH="0" baseline="0" noProof="0">
                <a:ln>
                  <a:noFill/>
                </a:ln>
                <a:solidFill>
                  <a:srgbClr val="FF0000"/>
                </a:solidFill>
                <a:effectLst/>
                <a:uLnTx/>
                <a:uFillTx/>
                <a:latin typeface="ＭＳ Ｐゴシック"/>
                <a:ea typeface="ＭＳ Ｐゴシック"/>
                <a:cs typeface="ＭＳ Ｐゴシック" panose="020B0600070205080204" pitchFamily="50" charset="-128"/>
              </a:rPr>
              <a:t>支援期間は原則３年間とする。なお、支援期間満了後も地方公共団体が継続を希望する場合は、内閣府の認定を受けた場合に、追加で２年間の支援を受けることができる。</a:t>
            </a:r>
            <a:endParaRPr kumimoji="1" lang="ja-JP" altLang="en-US" sz="1400" b="0" i="1" u="none" strike="noStrike" kern="1200" cap="none" spc="0" normalizeH="0" baseline="0" noProof="0">
              <a:ln>
                <a:noFill/>
              </a:ln>
              <a:solidFill>
                <a:srgbClr val="FF0000"/>
              </a:solidFill>
              <a:effectLst/>
              <a:uLnTx/>
              <a:uFillTx/>
              <a:latin typeface="ＭＳ Ｐゴシック"/>
              <a:ea typeface="ＭＳ Ｐゴシック"/>
              <a:cs typeface="+mn-cs"/>
            </a:endParaRPr>
          </a:p>
        </p:txBody>
      </p:sp>
    </p:spTree>
    <p:extLst>
      <p:ext uri="{BB962C8B-B14F-4D97-AF65-F5344CB8AC3E}">
        <p14:creationId xmlns:p14="http://schemas.microsoft.com/office/powerpoint/2010/main" val="17616415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8"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２．</a:t>
            </a:r>
            <a:r>
              <a:rPr kumimoji="1" lang="ja-JP" altLang="en-US" sz="2400" b="1" i="0" u="none" strike="noStrike" kern="1200" cap="none" spc="-15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スマートシティセキュリティガイドライン導入チェックシート</a:t>
            </a:r>
          </a:p>
        </p:txBody>
      </p:sp>
      <p:sp>
        <p:nvSpPr>
          <p:cNvPr id="1351" name="正方形/長方形 1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48" name="正方形/長方形 4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C5F9EFF0-FBE0-45DB-9E52-70A68EC07DD8}"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15</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49" name="正方形/長方形 25"/>
          <p:cNvSpPr/>
          <p:nvPr/>
        </p:nvSpPr>
        <p:spPr>
          <a:xfrm>
            <a:off x="323528" y="698273"/>
            <a:ext cx="849694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該当する場合、別紙３－２の</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Excel</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シートに記載</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11847571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6"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4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50" name="正方形/長方形 7"/>
          <p:cNvSpPr/>
          <p:nvPr/>
        </p:nvSpPr>
        <p:spPr>
          <a:xfrm>
            <a:off x="179512" y="3253405"/>
            <a:ext cx="610242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実証フィールド</a:t>
            </a:r>
            <a:r>
              <a:rPr kumimoji="1" lang="en-US" altLang="ja-JP" sz="14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67</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3" name="表 2">
            <a:extLst>
              <a:ext uri="{FF2B5EF4-FFF2-40B4-BE49-F238E27FC236}">
                <a16:creationId xmlns:a16="http://schemas.microsoft.com/office/drawing/2014/main" id="{30CF16A3-596D-4E2B-8412-5F9CB1C5A8A2}"/>
              </a:ext>
            </a:extLst>
          </p:cNvPr>
          <p:cNvGraphicFramePr>
            <a:graphicFrameLocks noGrp="1"/>
          </p:cNvGraphicFramePr>
          <p:nvPr/>
        </p:nvGraphicFramePr>
        <p:xfrm>
          <a:off x="249260" y="3575096"/>
          <a:ext cx="8762063" cy="2806232"/>
        </p:xfrm>
        <a:graphic>
          <a:graphicData uri="http://schemas.openxmlformats.org/drawingml/2006/table">
            <a:tbl>
              <a:tblPr firstRow="1" bandRow="1">
                <a:tableStyleId>{5C22544A-7EE6-4342-B048-85BDC9FD1C3A}</a:tableStyleId>
              </a:tblPr>
              <a:tblGrid>
                <a:gridCol w="2162500">
                  <a:extLst>
                    <a:ext uri="{9D8B030D-6E8A-4147-A177-3AD203B41FA5}">
                      <a16:colId xmlns:a16="http://schemas.microsoft.com/office/drawing/2014/main" val="1444640776"/>
                    </a:ext>
                  </a:extLst>
                </a:gridCol>
                <a:gridCol w="6599563">
                  <a:extLst>
                    <a:ext uri="{9D8B030D-6E8A-4147-A177-3AD203B41FA5}">
                      <a16:colId xmlns:a16="http://schemas.microsoft.com/office/drawing/2014/main" val="2548467621"/>
                    </a:ext>
                  </a:extLst>
                </a:gridCol>
              </a:tblGrid>
              <a:tr h="701558">
                <a:tc>
                  <a:txBody>
                    <a:bodyPr/>
                    <a:lstStyle/>
                    <a:p>
                      <a:pPr algn="l"/>
                      <a:r>
                        <a:rPr lang="ja-JP" altLang="en-US" sz="1200" b="1" kern="0">
                          <a:solidFill>
                            <a:schemeClr val="tx1"/>
                          </a:solidFill>
                          <a:effectLst/>
                          <a:latin typeface="+mn-ea"/>
                          <a:ea typeface="+mn-ea"/>
                        </a:rPr>
                        <a:t>１</a:t>
                      </a:r>
                      <a:r>
                        <a:rPr lang="ja-JP" altLang="ja-JP" sz="1200" b="1" kern="0">
                          <a:solidFill>
                            <a:schemeClr val="tx1"/>
                          </a:solidFill>
                          <a:effectLst/>
                          <a:latin typeface="+mn-ea"/>
                          <a:ea typeface="+mn-ea"/>
                        </a:rPr>
                        <a:t>．</a:t>
                      </a:r>
                      <a:r>
                        <a:rPr lang="ja-JP" altLang="en-US" sz="1200" b="1" kern="0">
                          <a:solidFill>
                            <a:schemeClr val="tx1"/>
                          </a:solidFill>
                          <a:effectLst/>
                          <a:latin typeface="+mn-ea"/>
                          <a:ea typeface="+mn-ea"/>
                        </a:rPr>
                        <a:t>エリア名</a:t>
                      </a:r>
                      <a:br>
                        <a:rPr lang="en-US" altLang="ja-JP" sz="1200" b="1" kern="0">
                          <a:solidFill>
                            <a:schemeClr val="tx1"/>
                          </a:solidFill>
                          <a:effectLst/>
                          <a:latin typeface="+mn-ea"/>
                          <a:ea typeface="+mn-ea"/>
                        </a:rPr>
                      </a:br>
                      <a:r>
                        <a:rPr lang="ja-JP" altLang="en-US" sz="1200" b="1" kern="0">
                          <a:solidFill>
                            <a:schemeClr val="tx1"/>
                          </a:solidFill>
                          <a:effectLst/>
                          <a:latin typeface="+mn-ea"/>
                          <a:ea typeface="+mn-ea"/>
                        </a:rPr>
                        <a:t>（基礎自治体名、地域名等）</a:t>
                      </a:r>
                      <a:endParaRPr lang="ja-JP" sz="1200" b="1" kern="100">
                        <a:solidFill>
                          <a:schemeClr val="tx1"/>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l"/>
                      <a:r>
                        <a:rPr lang="ja-JP" altLang="en-US" sz="1200" b="0" kern="100">
                          <a:solidFill>
                            <a:srgbClr val="FF0000"/>
                          </a:solidFill>
                          <a:effectLst/>
                          <a:latin typeface="+mn-ea"/>
                          <a:ea typeface="+mn-ea"/>
                          <a:cs typeface="Times New Roman" panose="02020603050405020304" pitchFamily="18" charset="0"/>
                        </a:rPr>
                        <a:t>例）○○県○○市○○地区</a:t>
                      </a:r>
                      <a:endParaRPr lang="en-US" altLang="ja-JP" sz="1200" b="0" kern="100">
                        <a:solidFill>
                          <a:srgbClr val="FF0000"/>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66421681"/>
                  </a:ext>
                </a:extLst>
              </a:tr>
              <a:tr h="701558">
                <a:tc>
                  <a:txBody>
                    <a:bodyPr/>
                    <a:lstStyle/>
                    <a:p>
                      <a:pPr algn="l"/>
                      <a:r>
                        <a:rPr lang="ja-JP" altLang="en-US" sz="1200" b="1" kern="0">
                          <a:solidFill>
                            <a:schemeClr val="tx1"/>
                          </a:solidFill>
                          <a:effectLst/>
                          <a:latin typeface="+mn-ea"/>
                          <a:ea typeface="+mn-ea"/>
                        </a:rPr>
                        <a:t>２</a:t>
                      </a:r>
                      <a:r>
                        <a:rPr lang="ja-JP" sz="1200" b="1" kern="0">
                          <a:solidFill>
                            <a:schemeClr val="tx1"/>
                          </a:solidFill>
                          <a:effectLst/>
                          <a:latin typeface="+mn-ea"/>
                          <a:ea typeface="+mn-ea"/>
                        </a:rPr>
                        <a:t>．</a:t>
                      </a:r>
                      <a:r>
                        <a:rPr lang="ja-JP" altLang="en-US" sz="1200" b="1" kern="0">
                          <a:solidFill>
                            <a:schemeClr val="tx1"/>
                          </a:solidFill>
                          <a:effectLst/>
                          <a:latin typeface="+mn-ea"/>
                          <a:ea typeface="+mn-ea"/>
                        </a:rPr>
                        <a:t>対象エリアの</a:t>
                      </a:r>
                      <a:r>
                        <a:rPr lang="ja-JP" sz="1200" b="1" kern="0">
                          <a:solidFill>
                            <a:schemeClr val="tx1"/>
                          </a:solidFill>
                          <a:effectLst/>
                          <a:latin typeface="+mn-ea"/>
                          <a:ea typeface="+mn-ea"/>
                        </a:rPr>
                        <a:t>人口規模</a:t>
                      </a:r>
                      <a:endParaRPr lang="ja-JP" sz="1200" b="1" kern="100">
                        <a:solidFill>
                          <a:schemeClr val="tx1"/>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l"/>
                      <a:r>
                        <a:rPr lang="ja-JP" altLang="en-US" sz="1200" b="0" kern="100">
                          <a:solidFill>
                            <a:srgbClr val="FF0000"/>
                          </a:solidFill>
                          <a:effectLst/>
                          <a:latin typeface="+mn-ea"/>
                          <a:ea typeface="+mn-ea"/>
                          <a:cs typeface="Times New Roman" panose="02020603050405020304" pitchFamily="18" charset="0"/>
                        </a:rPr>
                        <a:t>例）○○人（○○年度国勢調査）　</a:t>
                      </a:r>
                      <a:r>
                        <a:rPr lang="en-US" altLang="ja-JP" sz="1200" b="0" kern="100">
                          <a:solidFill>
                            <a:srgbClr val="FF0000"/>
                          </a:solidFill>
                          <a:effectLst/>
                          <a:latin typeface="+mn-ea"/>
                          <a:ea typeface="+mn-ea"/>
                          <a:cs typeface="Times New Roman" panose="02020603050405020304" pitchFamily="18" charset="0"/>
                        </a:rPr>
                        <a:t>※</a:t>
                      </a:r>
                      <a:r>
                        <a:rPr lang="ja-JP" altLang="en-US" sz="1200" b="0" kern="100">
                          <a:solidFill>
                            <a:srgbClr val="FF0000"/>
                          </a:solidFill>
                          <a:effectLst/>
                          <a:latin typeface="+mn-ea"/>
                          <a:ea typeface="+mn-ea"/>
                          <a:cs typeface="Times New Roman" panose="02020603050405020304" pitchFamily="18" charset="0"/>
                        </a:rPr>
                        <a:t>概算の場合は概算方法も含め記載</a:t>
                      </a:r>
                      <a:endParaRPr lang="en-US" altLang="ja-JP" sz="1200" b="0" kern="100">
                        <a:solidFill>
                          <a:srgbClr val="FF0000"/>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108089838"/>
                  </a:ext>
                </a:extLst>
              </a:tr>
              <a:tr h="701558">
                <a:tc>
                  <a:txBody>
                    <a:bodyPr/>
                    <a:lstStyle/>
                    <a:p>
                      <a:pPr algn="l"/>
                      <a:r>
                        <a:rPr lang="ja-JP" altLang="en-US" sz="1200" b="1" kern="1200">
                          <a:solidFill>
                            <a:schemeClr val="tx1"/>
                          </a:solidFill>
                          <a:effectLst/>
                          <a:latin typeface="+mn-ea"/>
                          <a:ea typeface="+mn-ea"/>
                        </a:rPr>
                        <a:t>３</a:t>
                      </a:r>
                      <a:r>
                        <a:rPr lang="ja-JP" sz="1200" b="1" kern="1200">
                          <a:solidFill>
                            <a:schemeClr val="tx1"/>
                          </a:solidFill>
                          <a:effectLst/>
                          <a:latin typeface="+mn-ea"/>
                          <a:ea typeface="+mn-ea"/>
                        </a:rPr>
                        <a:t>．</a:t>
                      </a:r>
                      <a:r>
                        <a:rPr lang="ja-JP" altLang="en-US" sz="1200" b="1" kern="1200">
                          <a:solidFill>
                            <a:schemeClr val="tx1"/>
                          </a:solidFill>
                          <a:effectLst/>
                          <a:latin typeface="+mn-ea"/>
                          <a:ea typeface="+mn-ea"/>
                        </a:rPr>
                        <a:t>対象</a:t>
                      </a:r>
                      <a:r>
                        <a:rPr lang="ja-JP" sz="1200" b="1" kern="1200">
                          <a:solidFill>
                            <a:schemeClr val="tx1"/>
                          </a:solidFill>
                          <a:effectLst/>
                          <a:latin typeface="+mn-ea"/>
                          <a:ea typeface="+mn-ea"/>
                        </a:rPr>
                        <a:t>エリアにおける</a:t>
                      </a:r>
                      <a:br>
                        <a:rPr lang="en-US" altLang="ja-JP" sz="1200" b="1" kern="1200">
                          <a:solidFill>
                            <a:schemeClr val="tx1"/>
                          </a:solidFill>
                          <a:effectLst/>
                          <a:latin typeface="+mn-ea"/>
                          <a:ea typeface="+mn-ea"/>
                        </a:rPr>
                      </a:br>
                      <a:r>
                        <a:rPr lang="ja-JP" sz="1200" b="1" kern="1200">
                          <a:solidFill>
                            <a:schemeClr val="tx1"/>
                          </a:solidFill>
                          <a:effectLst/>
                          <a:latin typeface="+mn-ea"/>
                          <a:ea typeface="+mn-ea"/>
                        </a:rPr>
                        <a:t>自家用車分担率</a:t>
                      </a:r>
                      <a:endParaRPr lang="ja-JP" sz="1200" b="1" kern="100">
                        <a:solidFill>
                          <a:schemeClr val="tx1"/>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indent="0">
                        <a:buFont typeface="ＭＳ Ｐゴシック" panose="020B0600070205080204" pitchFamily="50" charset="-128"/>
                        <a:buNone/>
                      </a:pPr>
                      <a:r>
                        <a:rPr kumimoji="1" lang="ja-JP" altLang="en-US" sz="1200" i="0" kern="100">
                          <a:solidFill>
                            <a:srgbClr val="FF0000"/>
                          </a:solidFill>
                          <a:latin typeface="+mn-ea"/>
                          <a:ea typeface="+mn-ea"/>
                          <a:cs typeface="Times New Roman" panose="02020603050405020304" pitchFamily="18" charset="0"/>
                        </a:rPr>
                        <a:t>例）○○</a:t>
                      </a:r>
                      <a:r>
                        <a:rPr kumimoji="1" lang="en-US" altLang="ja-JP" sz="1200" i="0" kern="100">
                          <a:solidFill>
                            <a:srgbClr val="FF0000"/>
                          </a:solidFill>
                          <a:latin typeface="+mn-ea"/>
                          <a:ea typeface="+mn-ea"/>
                          <a:cs typeface="Times New Roman" panose="02020603050405020304" pitchFamily="18" charset="0"/>
                        </a:rPr>
                        <a:t>%</a:t>
                      </a:r>
                      <a:r>
                        <a:rPr kumimoji="1" lang="ja-JP" altLang="en-US" sz="1200" i="0" kern="100">
                          <a:solidFill>
                            <a:srgbClr val="FF0000"/>
                          </a:solidFill>
                          <a:latin typeface="+mn-ea"/>
                          <a:ea typeface="+mn-ea"/>
                          <a:cs typeface="Times New Roman" panose="02020603050405020304" pitchFamily="18" charset="0"/>
                        </a:rPr>
                        <a:t>（○○調査）　</a:t>
                      </a:r>
                      <a:r>
                        <a:rPr kumimoji="1" lang="en-US" altLang="ja-JP" sz="1200" i="0" kern="100">
                          <a:solidFill>
                            <a:srgbClr val="FF0000"/>
                          </a:solidFill>
                          <a:latin typeface="+mn-ea"/>
                          <a:ea typeface="+mn-ea"/>
                          <a:cs typeface="Times New Roman" panose="02020603050405020304" pitchFamily="18" charset="0"/>
                        </a:rPr>
                        <a:t>※</a:t>
                      </a:r>
                      <a:r>
                        <a:rPr kumimoji="1" lang="ja-JP" altLang="en-US" sz="1200" i="0" kern="100">
                          <a:solidFill>
                            <a:srgbClr val="FF0000"/>
                          </a:solidFill>
                          <a:latin typeface="+mn-ea"/>
                          <a:ea typeface="+mn-ea"/>
                          <a:cs typeface="Times New Roman" panose="02020603050405020304" pitchFamily="18" charset="0"/>
                        </a:rPr>
                        <a:t>概算の場合は概算方法も含め記載</a:t>
                      </a:r>
                      <a:endParaRPr kumimoji="1" lang="en-US" altLang="ja-JP" sz="1200" i="0" kern="100">
                        <a:solidFill>
                          <a:srgbClr val="FF0000"/>
                        </a:solidFill>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966501660"/>
                  </a:ext>
                </a:extLst>
              </a:tr>
              <a:tr h="701558">
                <a:tc>
                  <a:txBody>
                    <a:bodyPr/>
                    <a:lstStyle/>
                    <a:p>
                      <a:pPr algn="l"/>
                      <a:r>
                        <a:rPr lang="ja-JP" altLang="en-US" sz="1200" b="1" kern="1200">
                          <a:solidFill>
                            <a:schemeClr val="tx1"/>
                          </a:solidFill>
                          <a:effectLst/>
                          <a:latin typeface="+mn-ea"/>
                          <a:ea typeface="+mn-ea"/>
                        </a:rPr>
                        <a:t>４</a:t>
                      </a:r>
                      <a:r>
                        <a:rPr lang="en-US" sz="1200" b="1" kern="1200">
                          <a:solidFill>
                            <a:schemeClr val="tx1"/>
                          </a:solidFill>
                          <a:effectLst/>
                          <a:latin typeface="+mn-ea"/>
                          <a:ea typeface="+mn-ea"/>
                        </a:rPr>
                        <a:t>. </a:t>
                      </a:r>
                      <a:r>
                        <a:rPr lang="ja-JP" sz="1200" b="1" kern="100">
                          <a:solidFill>
                            <a:schemeClr val="tx1"/>
                          </a:solidFill>
                          <a:effectLst/>
                          <a:latin typeface="+mn-ea"/>
                          <a:ea typeface="+mn-ea"/>
                        </a:rPr>
                        <a:t>地理的・経済的・文化圏的</a:t>
                      </a:r>
                      <a:endParaRPr lang="en-US" altLang="ja-JP" sz="1200" b="1" kern="100">
                        <a:solidFill>
                          <a:schemeClr val="tx1"/>
                        </a:solidFill>
                        <a:effectLst/>
                        <a:latin typeface="+mn-ea"/>
                        <a:ea typeface="+mn-ea"/>
                      </a:endParaRPr>
                    </a:p>
                    <a:p>
                      <a:pPr algn="l"/>
                      <a:r>
                        <a:rPr lang="ja-JP" sz="1200" b="1" kern="100">
                          <a:solidFill>
                            <a:schemeClr val="tx1"/>
                          </a:solidFill>
                          <a:effectLst/>
                          <a:latin typeface="+mn-ea"/>
                          <a:ea typeface="+mn-ea"/>
                        </a:rPr>
                        <a:t>・交通動態的な特徴</a:t>
                      </a:r>
                      <a:endParaRPr lang="ja-JP" sz="1200" b="1" kern="100">
                        <a:solidFill>
                          <a:schemeClr val="tx1"/>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l"/>
                      <a:r>
                        <a:rPr kumimoji="1" lang="ja-JP" altLang="en-US" sz="1200" i="0" kern="100">
                          <a:solidFill>
                            <a:srgbClr val="FF0000"/>
                          </a:solidFill>
                          <a:latin typeface="+mn-ea"/>
                          <a:ea typeface="+mn-ea"/>
                          <a:cs typeface="Times New Roman" panose="02020603050405020304" pitchFamily="18" charset="0"/>
                        </a:rPr>
                        <a:t>例）大都市中心部、地方都市中心市街地、郊外ニュータウン、地方部集落、観光地繁華街など</a:t>
                      </a:r>
                      <a:endParaRPr kumimoji="1" lang="en-US" altLang="ja-JP" sz="1200" i="0" kern="100">
                        <a:solidFill>
                          <a:srgbClr val="FF0000"/>
                        </a:solidFill>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172090629"/>
                  </a:ext>
                </a:extLst>
              </a:tr>
            </a:tbl>
          </a:graphicData>
        </a:graphic>
      </p:graphicFrame>
      <p:sp>
        <p:nvSpPr>
          <p:cNvPr id="14" name="正方形/長方形 3">
            <a:extLst>
              <a:ext uri="{FF2B5EF4-FFF2-40B4-BE49-F238E27FC236}">
                <a16:creationId xmlns:a16="http://schemas.microsoft.com/office/drawing/2014/main" id="{60A30176-B930-422A-8617-0729B2A754B0}"/>
              </a:ext>
            </a:extLst>
          </p:cNvPr>
          <p:cNvSpPr/>
          <p:nvPr/>
        </p:nvSpPr>
        <p:spPr>
          <a:xfrm>
            <a:off x="249260" y="677463"/>
            <a:ext cx="8762062" cy="1280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１）左上タイトルが</a:t>
            </a:r>
            <a:r>
              <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提案内容」</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とあるページについては、</a:t>
            </a:r>
            <a:r>
              <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文字サイズ</a:t>
            </a:r>
            <a:r>
              <a:rPr kumimoji="1" lang="en-US" altLang="ja-JP"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2</a:t>
            </a:r>
            <a:r>
              <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ポイント以上</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で記載すること</a:t>
            </a:r>
            <a:endPar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２）各項目の</a:t>
            </a:r>
            <a:r>
              <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記載ボックスの大きさは可変</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とするが、</a:t>
            </a:r>
            <a:r>
              <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数は増やさないこと</a:t>
            </a:r>
            <a:endParaRPr kumimoji="1" lang="en-US" altLang="ja-JP"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３）各項目の記載ボックス内に赤文字で記載している</a:t>
            </a:r>
            <a:r>
              <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記入例・注釈は、応募時に削除すること</a:t>
            </a:r>
            <a:endParaRPr kumimoji="1" lang="en-US" altLang="ja-JP"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４）スマートモビリティチャレンジ推進協議会が公表している「スマートモビリティの創り方～みんなのガイドブック～」の記載も参考に、</a:t>
            </a:r>
            <a:r>
              <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適宜図表も用いながら簡潔に記載すること</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https://www.mobilitychallenge.go.jp/knowledge/</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a:t>
            </a:r>
            <a:endPar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５）ただし、</a:t>
            </a:r>
            <a:r>
              <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意図的に多くの文字を盛り込む目的で図表・画像を使用することは控えること</a:t>
            </a:r>
            <a:endParaRPr kumimoji="1" lang="en-US" altLang="ja-JP"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
        <p:nvSpPr>
          <p:cNvPr id="4" name="正方形/長方形 3">
            <a:extLst>
              <a:ext uri="{FF2B5EF4-FFF2-40B4-BE49-F238E27FC236}">
                <a16:creationId xmlns:a16="http://schemas.microsoft.com/office/drawing/2014/main" id="{701DDE7C-A993-6DED-421C-8D6F5D6579AE}"/>
              </a:ext>
            </a:extLst>
          </p:cNvPr>
          <p:cNvSpPr/>
          <p:nvPr/>
        </p:nvSpPr>
        <p:spPr>
          <a:xfrm>
            <a:off x="249260" y="2444003"/>
            <a:ext cx="8762062" cy="462016"/>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Arial"/>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Arial"/>
                <a:ea typeface="ＭＳ Ｐゴシック"/>
                <a:cs typeface="+mn-cs"/>
              </a:rPr>
              <a:t>事業名・実証名をご記載ください</a:t>
            </a:r>
            <a:endParaRPr kumimoji="1" lang="en-US" altLang="ja-JP" sz="1200" b="0" i="0" u="none" strike="noStrike" kern="100" cap="none" spc="0" normalizeH="0" baseline="0" noProof="0">
              <a:ln>
                <a:noFill/>
              </a:ln>
              <a:solidFill>
                <a:srgbClr val="FF0000"/>
              </a:solidFill>
              <a:effectLst/>
              <a:uLnTx/>
              <a:uFillTx/>
              <a:latin typeface="Arial"/>
              <a:ea typeface="ＭＳ Ｐゴシック"/>
              <a:cs typeface="+mn-cs"/>
            </a:endParaRPr>
          </a:p>
        </p:txBody>
      </p:sp>
      <p:sp>
        <p:nvSpPr>
          <p:cNvPr id="5" name="正方形/長方形 7">
            <a:extLst>
              <a:ext uri="{FF2B5EF4-FFF2-40B4-BE49-F238E27FC236}">
                <a16:creationId xmlns:a16="http://schemas.microsoft.com/office/drawing/2014/main" id="{6CA0F06D-7956-A9AE-0769-96FECD5DC2D6}"/>
              </a:ext>
            </a:extLst>
          </p:cNvPr>
          <p:cNvSpPr/>
          <p:nvPr/>
        </p:nvSpPr>
        <p:spPr>
          <a:xfrm>
            <a:off x="179512" y="2114273"/>
            <a:ext cx="610242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事業名・実証名</a:t>
            </a:r>
            <a:r>
              <a:rPr kumimoji="1" lang="en-US" altLang="ja-JP"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20263110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参考資料）募集要領　別添１</a:t>
            </a:r>
          </a:p>
        </p:txBody>
      </p:sp>
      <p:sp>
        <p:nvSpPr>
          <p:cNvPr id="1884"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87" name="Text Box 4"/>
          <p:cNvSpPr txBox="1">
            <a:spLocks noChangeArrowheads="1"/>
          </p:cNvSpPr>
          <p:nvPr/>
        </p:nvSpPr>
        <p:spPr>
          <a:xfrm>
            <a:off x="179512" y="60641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企画提案書に記載すべき項目</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　</a:t>
            </a:r>
            <a:endPar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7"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68</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4" name="表 3">
            <a:extLst>
              <a:ext uri="{FF2B5EF4-FFF2-40B4-BE49-F238E27FC236}">
                <a16:creationId xmlns:a16="http://schemas.microsoft.com/office/drawing/2014/main" id="{2E3219B6-7316-EE2B-4DBB-FFF5B45F8673}"/>
              </a:ext>
            </a:extLst>
          </p:cNvPr>
          <p:cNvGraphicFramePr>
            <a:graphicFrameLocks noGrp="1"/>
          </p:cNvGraphicFramePr>
          <p:nvPr/>
        </p:nvGraphicFramePr>
        <p:xfrm>
          <a:off x="251520" y="917685"/>
          <a:ext cx="8800728" cy="5535649"/>
        </p:xfrm>
        <a:graphic>
          <a:graphicData uri="http://schemas.openxmlformats.org/drawingml/2006/table">
            <a:tbl>
              <a:tblPr/>
              <a:tblGrid>
                <a:gridCol w="1296144">
                  <a:extLst>
                    <a:ext uri="{9D8B030D-6E8A-4147-A177-3AD203B41FA5}">
                      <a16:colId xmlns:a16="http://schemas.microsoft.com/office/drawing/2014/main" val="1304121162"/>
                    </a:ext>
                  </a:extLst>
                </a:gridCol>
                <a:gridCol w="2880320">
                  <a:extLst>
                    <a:ext uri="{9D8B030D-6E8A-4147-A177-3AD203B41FA5}">
                      <a16:colId xmlns:a16="http://schemas.microsoft.com/office/drawing/2014/main" val="1745479314"/>
                    </a:ext>
                  </a:extLst>
                </a:gridCol>
                <a:gridCol w="4624264">
                  <a:extLst>
                    <a:ext uri="{9D8B030D-6E8A-4147-A177-3AD203B41FA5}">
                      <a16:colId xmlns:a16="http://schemas.microsoft.com/office/drawing/2014/main" val="1182994437"/>
                    </a:ext>
                  </a:extLst>
                </a:gridCol>
              </a:tblGrid>
              <a:tr h="252033">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ctr" fontAlgn="ctr"/>
                      <a:r>
                        <a:rPr lang="ja-JP" altLang="en-US" sz="1000" b="1" i="0" u="none" strike="noStrike">
                          <a:solidFill>
                            <a:schemeClr val="bg1"/>
                          </a:solidFill>
                          <a:effectLst/>
                          <a:latin typeface="+mn-ea"/>
                          <a:ea typeface="+mn-ea"/>
                        </a:rPr>
                        <a:t>大項目</a:t>
                      </a:r>
                    </a:p>
                  </a:txBody>
                  <a:tcPr marL="36000" marR="36000" marT="3473" marB="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6690AF">
                        <a:lumMod val="75000"/>
                      </a:srgbClr>
                    </a:solidFill>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ctr" fontAlgn="ctr"/>
                      <a:r>
                        <a:rPr lang="ja-JP" altLang="en-US" sz="1000" b="1" i="0" u="none" strike="noStrike">
                          <a:solidFill>
                            <a:schemeClr val="bg1"/>
                          </a:solidFill>
                          <a:effectLst/>
                          <a:latin typeface="+mn-ea"/>
                          <a:ea typeface="+mn-ea"/>
                        </a:rPr>
                        <a:t>小項目</a:t>
                      </a:r>
                    </a:p>
                  </a:txBody>
                  <a:tcPr marL="36000" marR="36000" marT="3473" marB="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6690AF">
                        <a:lumMod val="75000"/>
                      </a:srgbClr>
                    </a:solidFill>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ctr" fontAlgn="ctr"/>
                      <a:r>
                        <a:rPr lang="ja-JP" altLang="en-US" sz="1000" b="1" i="0" u="none" strike="noStrike">
                          <a:solidFill>
                            <a:schemeClr val="bg1"/>
                          </a:solidFill>
                          <a:effectLst/>
                          <a:latin typeface="+mn-ea"/>
                          <a:ea typeface="+mn-ea"/>
                        </a:rPr>
                        <a:t>詳細</a:t>
                      </a:r>
                    </a:p>
                  </a:txBody>
                  <a:tcPr marL="36000" marR="36000" marT="3473" marB="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6690AF">
                        <a:lumMod val="75000"/>
                      </a:srgbClr>
                    </a:solidFill>
                  </a:tcPr>
                </a:tc>
                <a:extLst>
                  <a:ext uri="{0D108BD9-81ED-4DB2-BD59-A6C34878D82A}">
                    <a16:rowId xmlns:a16="http://schemas.microsoft.com/office/drawing/2014/main" val="4287556086"/>
                  </a:ext>
                </a:extLst>
              </a:tr>
              <a:tr h="406432">
                <a:tc rowSpan="4">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en-US" altLang="ja-JP" sz="900" b="0" i="0" u="none" strike="noStrike" kern="1200">
                          <a:solidFill>
                            <a:srgbClr val="000000"/>
                          </a:solidFill>
                          <a:effectLst/>
                          <a:latin typeface="+mn-ea"/>
                          <a:ea typeface="+mn-ea"/>
                          <a:cs typeface="+mn-cs"/>
                        </a:rPr>
                        <a:t>A.</a:t>
                      </a:r>
                      <a:r>
                        <a:rPr kumimoji="1" lang="ja-JP" altLang="en-US" sz="900" b="0" i="0" u="none" strike="noStrike" kern="1200">
                          <a:solidFill>
                            <a:srgbClr val="000000"/>
                          </a:solidFill>
                          <a:effectLst/>
                          <a:latin typeface="+mn-ea"/>
                          <a:ea typeface="+mn-ea"/>
                          <a:cs typeface="+mn-cs"/>
                        </a:rPr>
                        <a:t>現状把握・</a:t>
                      </a:r>
                      <a:br>
                        <a:rPr kumimoji="1" lang="ja-JP" altLang="en-US" sz="900" b="0" i="0" u="none" strike="noStrike" kern="1200">
                          <a:solidFill>
                            <a:srgbClr val="000000"/>
                          </a:solidFill>
                          <a:effectLst/>
                          <a:latin typeface="+mn-ea"/>
                          <a:ea typeface="+mn-ea"/>
                          <a:cs typeface="+mn-cs"/>
                        </a:rPr>
                      </a:br>
                      <a:r>
                        <a:rPr kumimoji="1" lang="ja-JP" altLang="en-US" sz="900" b="0" i="0" u="none" strike="noStrike" kern="1200">
                          <a:solidFill>
                            <a:srgbClr val="000000"/>
                          </a:solidFill>
                          <a:effectLst/>
                          <a:latin typeface="+mn-ea"/>
                          <a:ea typeface="+mn-ea"/>
                          <a:cs typeface="+mn-cs"/>
                        </a:rPr>
                        <a:t>将来構想の具体性</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１）社会課題・地域課題・利用者ニーズの整理</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事業実施の背景にある社会課題や地域課題、利用者（本提案内容の受益者）のニーズを具体的に記載</a:t>
                      </a:r>
                    </a:p>
                  </a:txBody>
                  <a:tcPr marL="72000" marR="36000" marT="36000" marB="36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49010310"/>
                  </a:ext>
                </a:extLst>
              </a:tr>
              <a:tr h="406432">
                <a:tc vMerge="1">
                  <a:txBody>
                    <a:bodyPr/>
                    <a:lstStyle/>
                    <a:p>
                      <a:endParaRPr kumimoji="1" lang="ja-JP" altLang="en-US"/>
                    </a:p>
                  </a:txBody>
                  <a:tcPr>
                    <a:lnT w="6350" cap="flat" cmpd="sng" algn="ctr">
                      <a:solidFill>
                        <a:srgbClr val="808080"/>
                      </a:solidFill>
                      <a:prstDash val="solid"/>
                      <a:round/>
                      <a:headEnd type="none" w="med" len="med"/>
                      <a:tailEnd type="none" w="med" len="med"/>
                    </a:lnT>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２）将来構想</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１）を受けて、将来的に実装を目指すサービス像やビジネスモデル、横展開の構想等を具体的に記載</a:t>
                      </a:r>
                      <a:endParaRPr kumimoji="1" lang="en-US" altLang="ja-JP" sz="900" b="0" i="0" u="none" strike="noStrike" kern="1200">
                        <a:solidFill>
                          <a:srgbClr val="000000"/>
                        </a:solidFill>
                        <a:effectLst/>
                        <a:latin typeface="MSPゴシック"/>
                        <a:ea typeface="+mn-ea"/>
                        <a:cs typeface="+mn-cs"/>
                      </a:endParaRP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43665595"/>
                  </a:ext>
                </a:extLst>
              </a:tr>
              <a:tr h="406432">
                <a:tc vMerge="1">
                  <a:txBody>
                    <a:bodyPr/>
                    <a:lstStyle/>
                    <a:p>
                      <a:endParaRPr kumimoji="1" lang="ja-JP" altLang="en-US"/>
                    </a:p>
                  </a:txBody>
                  <a:tcPr>
                    <a:lnL w="6350" cap="flat" cmpd="sng" algn="ctr">
                      <a:solidFill>
                        <a:srgbClr val="808080"/>
                      </a:solidFill>
                      <a:prstDash val="solid"/>
                      <a:round/>
                      <a:headEnd type="none" w="med" len="med"/>
                      <a:tailEnd type="none" w="med" len="med"/>
                    </a:lnL>
                    <a:lnT w="6350" cap="flat" cmpd="sng" algn="ctr">
                      <a:solidFill>
                        <a:srgbClr val="FFFFFF">
                          <a:lumMod val="50000"/>
                        </a:srgbClr>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３）実装に向けたロードマップと今年度事業の位置づけ</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実装に向けたロードマップと、今年度事業の位置づけ（今年度は何を目的に進めるのか）、</a:t>
                      </a:r>
                      <a:br>
                        <a:rPr kumimoji="1" lang="en-US" altLang="ja-JP" sz="900" b="0" i="0" u="none" strike="noStrike" kern="1200">
                          <a:solidFill>
                            <a:srgbClr val="000000"/>
                          </a:solidFill>
                          <a:effectLst/>
                          <a:latin typeface="MSPゴシック"/>
                          <a:ea typeface="+mn-ea"/>
                          <a:cs typeface="+mn-cs"/>
                        </a:rPr>
                      </a:br>
                      <a:r>
                        <a:rPr kumimoji="1" lang="ja-JP" altLang="en-US" sz="900" b="0" i="0" u="none" strike="noStrike" kern="1200">
                          <a:solidFill>
                            <a:srgbClr val="000000"/>
                          </a:solidFill>
                          <a:effectLst/>
                          <a:latin typeface="MSPゴシック"/>
                          <a:ea typeface="+mn-ea"/>
                          <a:cs typeface="+mn-cs"/>
                        </a:rPr>
                        <a:t>将来的な予算確保の考え方等を具体的かつ簡潔に記載</a:t>
                      </a:r>
                      <a:r>
                        <a:rPr kumimoji="1" lang="en-US" altLang="ja-JP" sz="900" b="0" i="0" u="none" strike="noStrike" kern="1200">
                          <a:solidFill>
                            <a:srgbClr val="000000"/>
                          </a:solidFill>
                          <a:effectLst/>
                          <a:latin typeface="MSPゴシック"/>
                          <a:ea typeface="+mn-ea"/>
                          <a:cs typeface="+mn-cs"/>
                        </a:rPr>
                        <a:t> </a:t>
                      </a:r>
                      <a:endParaRPr kumimoji="1" lang="ja-JP" altLang="en-US" sz="900" b="0" i="0" u="none" strike="noStrike" kern="1200">
                        <a:solidFill>
                          <a:srgbClr val="000000"/>
                        </a:solidFill>
                        <a:effectLst/>
                        <a:latin typeface="MSPゴシック"/>
                        <a:ea typeface="+mn-ea"/>
                        <a:cs typeface="+mn-cs"/>
                      </a:endParaRP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56506832"/>
                  </a:ext>
                </a:extLst>
              </a:tr>
              <a:tr h="406432">
                <a:tc vMerge="1">
                  <a:txBody>
                    <a:bodyPr/>
                    <a:lstStyle/>
                    <a:p>
                      <a:pPr algn="l" fontAlgn="ctr"/>
                      <a:endParaRPr kumimoji="1" lang="ja-JP" altLang="en-US" sz="1000" b="0" i="0" u="none" strike="noStrike" kern="1200">
                        <a:solidFill>
                          <a:srgbClr val="000000"/>
                        </a:solidFill>
                        <a:effectLst/>
                        <a:latin typeface="+mn-ea"/>
                        <a:ea typeface="+mn-ea"/>
                        <a:cs typeface="+mn-cs"/>
                      </a:endParaRP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４）取組の新規性</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当該地域の過去の取組や他地域の類似事例を参照し、提案内容の新規性を記載。また、参照結果を提案内容にどのように反映しているか記載（事例が無い場合はその旨を記載）</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54521865"/>
                  </a:ext>
                </a:extLst>
              </a:tr>
              <a:tr h="406432">
                <a:tc rowSpan="6">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kumimoji="1" lang="en-US" altLang="ja-JP" sz="900" b="0" i="0" u="none" strike="noStrike" kern="1200">
                          <a:solidFill>
                            <a:srgbClr val="000000"/>
                          </a:solidFill>
                          <a:effectLst/>
                          <a:latin typeface="MSPゴシック"/>
                          <a:ea typeface="+mn-ea"/>
                          <a:cs typeface="+mn-cs"/>
                        </a:rPr>
                        <a:t>B. </a:t>
                      </a:r>
                      <a:r>
                        <a:rPr kumimoji="1" lang="ja-JP" altLang="en-US" sz="900" b="0" i="0" u="none" strike="noStrike" kern="1200">
                          <a:solidFill>
                            <a:srgbClr val="000000"/>
                          </a:solidFill>
                          <a:effectLst/>
                          <a:latin typeface="MSPゴシック"/>
                          <a:ea typeface="+mn-ea"/>
                          <a:cs typeface="+mn-cs"/>
                        </a:rPr>
                        <a:t>今年度実証内容</a:t>
                      </a:r>
                      <a:endParaRPr kumimoji="1" lang="en-US" altLang="ja-JP" sz="900" b="0" i="0" u="none" strike="noStrike" kern="1200">
                        <a:solidFill>
                          <a:srgbClr val="000000"/>
                        </a:solidFill>
                        <a:effectLst/>
                        <a:latin typeface="MSPゴシック"/>
                        <a:ea typeface="+mn-ea"/>
                        <a:cs typeface="+mn-cs"/>
                      </a:endParaRPr>
                    </a:p>
                    <a:p>
                      <a:pPr algn="l" fontAlgn="ctr"/>
                      <a:r>
                        <a:rPr kumimoji="1" lang="ja-JP" altLang="en-US" sz="900" b="0" i="0" u="none" strike="noStrike" kern="1200">
                          <a:solidFill>
                            <a:srgbClr val="000000"/>
                          </a:solidFill>
                          <a:effectLst/>
                          <a:latin typeface="MSPゴシック"/>
                          <a:ea typeface="+mn-ea"/>
                          <a:cs typeface="+mn-cs"/>
                        </a:rPr>
                        <a:t>の具体性</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lang="ja-JP" altLang="en-US" sz="900" b="0" kern="100">
                          <a:solidFill>
                            <a:schemeClr val="tx1"/>
                          </a:solidFill>
                        </a:rPr>
                        <a:t>（１）今年度実証内容の概要・検証内容・検証手法</a:t>
                      </a:r>
                      <a:endParaRPr kumimoji="1" lang="ja-JP" altLang="en-US" sz="900" b="0" i="0" u="none" strike="noStrike" kern="1200">
                        <a:solidFill>
                          <a:schemeClr val="tx1"/>
                        </a:solidFill>
                        <a:effectLst/>
                        <a:latin typeface="MSPゴシック"/>
                        <a:ea typeface="+mn-ea"/>
                        <a:cs typeface="+mn-cs"/>
                      </a:endParaRP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今年度の実証内容と、検証内容（検証項目）、その検証手法を具体的に記載</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99845618"/>
                  </a:ext>
                </a:extLst>
              </a:tr>
              <a:tr h="406432">
                <a:tc vMerge="1">
                  <a:txBody>
                    <a:bodyPr/>
                    <a:lstStyle/>
                    <a:p>
                      <a:endParaRPr kumimoji="1" lang="ja-JP" altLang="en-US"/>
                    </a:p>
                  </a:txBody>
                  <a:tcPr>
                    <a:lnT w="6350" cap="flat" cmpd="sng" algn="ctr">
                      <a:solidFill>
                        <a:srgbClr val="FFFFFF">
                          <a:lumMod val="50000"/>
                        </a:srgbClr>
                      </a:solidFill>
                      <a:prstDash val="solid"/>
                      <a:round/>
                      <a:headEnd type="none" w="med" len="med"/>
                      <a:tailEnd type="none" w="med" len="med"/>
                    </a:lnT>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kumimoji="1" lang="ja-JP" altLang="en-US" sz="900" b="0" i="0" u="none" strike="noStrike" kern="1200">
                          <a:solidFill>
                            <a:srgbClr val="000000"/>
                          </a:solidFill>
                          <a:effectLst/>
                          <a:latin typeface="MSPゴシック"/>
                          <a:ea typeface="+mn-ea"/>
                          <a:cs typeface="+mn-cs"/>
                        </a:rPr>
                        <a:t>（２）達成度の評価方法</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１）で示した検証内容の達成度を評価する手法と定量目標（</a:t>
                      </a:r>
                      <a:r>
                        <a:rPr kumimoji="1" lang="en-US" altLang="ja-JP" sz="900" b="0" i="0" u="none" strike="noStrike" kern="1200">
                          <a:solidFill>
                            <a:srgbClr val="000000"/>
                          </a:solidFill>
                          <a:effectLst/>
                          <a:latin typeface="MSPゴシック"/>
                          <a:ea typeface="+mn-ea"/>
                          <a:cs typeface="+mn-cs"/>
                        </a:rPr>
                        <a:t>KGI</a:t>
                      </a:r>
                      <a:r>
                        <a:rPr kumimoji="1" lang="ja-JP" altLang="en-US" sz="900" b="0" i="0" u="none" strike="noStrike" kern="1200">
                          <a:solidFill>
                            <a:srgbClr val="000000"/>
                          </a:solidFill>
                          <a:effectLst/>
                          <a:latin typeface="MSPゴシック"/>
                          <a:ea typeface="+mn-ea"/>
                          <a:cs typeface="+mn-cs"/>
                        </a:rPr>
                        <a:t>、</a:t>
                      </a:r>
                      <a:r>
                        <a:rPr kumimoji="1" lang="en-US" altLang="ja-JP" sz="900" b="0" i="0" u="none" strike="noStrike" kern="1200">
                          <a:solidFill>
                            <a:srgbClr val="000000"/>
                          </a:solidFill>
                          <a:effectLst/>
                          <a:latin typeface="MSPゴシック"/>
                          <a:ea typeface="+mn-ea"/>
                          <a:cs typeface="+mn-cs"/>
                        </a:rPr>
                        <a:t>KPI</a:t>
                      </a:r>
                      <a:r>
                        <a:rPr kumimoji="1" lang="ja-JP" altLang="en-US" sz="900" b="0" i="0" u="none" strike="noStrike" kern="1200">
                          <a:solidFill>
                            <a:srgbClr val="000000"/>
                          </a:solidFill>
                          <a:effectLst/>
                          <a:latin typeface="MSPゴシック"/>
                          <a:ea typeface="+mn-ea"/>
                          <a:cs typeface="+mn-cs"/>
                        </a:rPr>
                        <a:t>等）を具体的に記載</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44630272"/>
                  </a:ext>
                </a:extLst>
              </a:tr>
              <a:tr h="406432">
                <a:tc vMerge="1">
                  <a:txBody>
                    <a:bodyPr/>
                    <a:lstStyle/>
                    <a:p>
                      <a:endParaRPr kumimoji="1" lang="ja-JP" altLang="en-US"/>
                    </a:p>
                  </a:txBody>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kumimoji="1" lang="ja-JP" altLang="en-US" sz="900" b="0" i="0" u="none" strike="noStrike" kern="1200">
                          <a:solidFill>
                            <a:srgbClr val="000000"/>
                          </a:solidFill>
                          <a:effectLst/>
                          <a:latin typeface="MSPゴシック"/>
                          <a:ea typeface="+mn-ea"/>
                          <a:cs typeface="+mn-cs"/>
                        </a:rPr>
                        <a:t>（３）実証スケジュール</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実証スケジュール（実証時期、実証計画の修正余地 等）を具体的に記載</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7974469"/>
                  </a:ext>
                </a:extLst>
              </a:tr>
              <a:tr h="406432">
                <a:tc vMerge="1">
                  <a:txBody>
                    <a:bodyPr/>
                    <a:lstStyle/>
                    <a:p>
                      <a:endParaRPr kumimoji="1" lang="ja-JP" altLang="en-US"/>
                    </a:p>
                  </a:txBody>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kumimoji="1" lang="ja-JP" altLang="en-US" sz="900" b="0" i="0" u="none" strike="noStrike" kern="1200">
                          <a:solidFill>
                            <a:srgbClr val="000000"/>
                          </a:solidFill>
                          <a:effectLst/>
                          <a:latin typeface="MSPゴシック"/>
                          <a:ea typeface="+mn-ea"/>
                          <a:cs typeface="+mn-cs"/>
                        </a:rPr>
                        <a:t>（４）実施体制の整備</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実施体制と各主体の役割を具体的に記載</a:t>
                      </a:r>
                    </a:p>
                  </a:txBody>
                  <a:tcPr marL="72000" marR="36000" marT="36000" marB="36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60938219"/>
                  </a:ext>
                </a:extLst>
              </a:tr>
              <a:tr h="406432">
                <a:tc vMerge="1">
                  <a:txBody>
                    <a:bodyPr/>
                    <a:lstStyle/>
                    <a:p>
                      <a:endParaRPr kumimoji="1" lang="ja-JP" altLang="en-US"/>
                    </a:p>
                  </a:txBody>
                  <a:tcPr>
                    <a:lnT w="6350" cap="flat" cmpd="sng" algn="ctr">
                      <a:solidFill>
                        <a:schemeClr val="bg1">
                          <a:lumMod val="50000"/>
                        </a:schemeClr>
                      </a:solidFill>
                      <a:prstDash val="solid"/>
                      <a:round/>
                      <a:headEnd type="none" w="med" len="med"/>
                      <a:tailEnd type="none" w="med" len="med"/>
                    </a:lnT>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kumimoji="1" lang="ja-JP" altLang="en-US" sz="900" b="0" i="0" u="none" strike="noStrike" kern="1200">
                          <a:solidFill>
                            <a:srgbClr val="000000"/>
                          </a:solidFill>
                          <a:effectLst/>
                          <a:latin typeface="MSPゴシック"/>
                          <a:ea typeface="+mn-ea"/>
                          <a:cs typeface="+mn-cs"/>
                        </a:rPr>
                        <a:t>（５）自治体の協力</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事業実施にあたり、地域（自治体等）との協力状況を具体的に記載</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91600129"/>
                  </a:ext>
                </a:extLst>
              </a:tr>
              <a:tr h="406432">
                <a:tc vMerge="1">
                  <a:txBody>
                    <a:bodyPr/>
                    <a:lstStyle/>
                    <a:p>
                      <a:endParaRPr kumimoji="1" lang="ja-JP" altLang="en-US"/>
                    </a:p>
                  </a:txBody>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kumimoji="1" lang="ja-JP" altLang="en-US" sz="900" b="0" i="0" u="none" strike="noStrike" kern="1200">
                          <a:solidFill>
                            <a:srgbClr val="000000"/>
                          </a:solidFill>
                          <a:effectLst/>
                          <a:latin typeface="MSPゴシック"/>
                          <a:ea typeface="+mn-ea"/>
                          <a:cs typeface="+mn-cs"/>
                        </a:rPr>
                        <a:t>（６）利用者ニーズの反映</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利用者（サービスの受益者）視点での意見・ニーズが実証内容に反映されているかを具体的に記載</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64422734"/>
                  </a:ext>
                </a:extLst>
              </a:tr>
              <a:tr h="406432">
                <a:tc rowSpan="2">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en-US" altLang="ja-JP" sz="900" b="0" i="0" u="none" strike="noStrike" kern="1200">
                          <a:solidFill>
                            <a:srgbClr val="000000"/>
                          </a:solidFill>
                          <a:effectLst/>
                          <a:latin typeface="MSPゴシック"/>
                          <a:ea typeface="+mn-ea"/>
                          <a:cs typeface="+mn-cs"/>
                        </a:rPr>
                        <a:t>C.</a:t>
                      </a:r>
                      <a:r>
                        <a:rPr kumimoji="1" lang="ja-JP" altLang="en-US" sz="900" b="0" i="0" u="none" strike="noStrike" kern="1200">
                          <a:solidFill>
                            <a:srgbClr val="000000"/>
                          </a:solidFill>
                          <a:effectLst/>
                          <a:latin typeface="MSPゴシック"/>
                          <a:ea typeface="+mn-ea"/>
                          <a:cs typeface="+mn-cs"/>
                        </a:rPr>
                        <a:t>事業目的や期待する成果との整合性</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a:r>
                        <a:rPr kumimoji="1" lang="ja-JP" altLang="en-US" sz="900" b="0" i="0" u="none" strike="noStrike" kern="1200">
                          <a:solidFill>
                            <a:srgbClr val="000000"/>
                          </a:solidFill>
                          <a:effectLst/>
                          <a:latin typeface="MSPゴシック"/>
                          <a:ea typeface="+mn-ea"/>
                          <a:cs typeface="+mn-cs"/>
                        </a:rPr>
                        <a:t>（１）期待する成果との整合性</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本事業が期待する成果への該当有無を記載</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25463225"/>
                  </a:ext>
                </a:extLst>
              </a:tr>
              <a:tr h="406432">
                <a:tc vMerge="1">
                  <a:txBody>
                    <a:bodyPr/>
                    <a:lstStyle/>
                    <a:p>
                      <a:endParaRPr kumimoji="1" lang="ja-JP" altLang="en-US"/>
                    </a:p>
                  </a:txBody>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２）具体的に目指す成果</a:t>
                      </a:r>
                    </a:p>
                  </a:txBody>
                  <a:tcPr marL="36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algn="l" fontAlgn="ctr"/>
                      <a:r>
                        <a:rPr kumimoji="1" lang="ja-JP" altLang="en-US" sz="900" b="0" i="0" u="none" strike="noStrike" kern="1200">
                          <a:solidFill>
                            <a:srgbClr val="000000"/>
                          </a:solidFill>
                          <a:effectLst/>
                          <a:latin typeface="MSPゴシック"/>
                          <a:ea typeface="+mn-ea"/>
                          <a:cs typeface="+mn-cs"/>
                        </a:rPr>
                        <a:t>本事業の目的や期待する成果を加味し、提案内容がどのような点で成果を生むことが出来るか記載</a:t>
                      </a:r>
                    </a:p>
                  </a:txBody>
                  <a:tcPr marL="72000" marR="36000" marT="36000" marB="36000" anchor="ctr">
                    <a:lnL w="6350" cap="flat" cmpd="sng" algn="ctr">
                      <a:solidFill>
                        <a:schemeClr val="bg1">
                          <a:lumMod val="50000"/>
                        </a:scheme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45526929"/>
                  </a:ext>
                </a:extLst>
              </a:tr>
              <a:tr h="406432">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lang="en-US" altLang="ja-JP" sz="900" b="0" i="0" u="none" strike="noStrike">
                          <a:solidFill>
                            <a:srgbClr val="000000"/>
                          </a:solidFill>
                          <a:effectLst/>
                          <a:latin typeface="+mn-ea"/>
                          <a:ea typeface="+mn-ea"/>
                        </a:rPr>
                        <a:t>D. </a:t>
                      </a:r>
                      <a:r>
                        <a:rPr lang="ja-JP" altLang="en-US" sz="900" b="0" i="0" u="none" strike="noStrike">
                          <a:solidFill>
                            <a:srgbClr val="000000"/>
                          </a:solidFill>
                          <a:effectLst/>
                          <a:latin typeface="+mn-ea"/>
                          <a:ea typeface="+mn-ea"/>
                        </a:rPr>
                        <a:t>その他</a:t>
                      </a:r>
                    </a:p>
                  </a:txBody>
                  <a:tcPr marL="72000" marR="36000" marT="36000" marB="36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lang="ja-JP" altLang="en-US" sz="900" b="0" kern="100">
                          <a:solidFill>
                            <a:schemeClr val="tx1"/>
                          </a:solidFill>
                        </a:rPr>
                        <a:t>ワーク・ライフ・バランス等推進企業に関する認定等の状況</a:t>
                      </a:r>
                      <a:endParaRPr kumimoji="1" lang="ja-JP" altLang="en-US" sz="900" b="0" i="0" u="none" strike="noStrike" kern="1200">
                        <a:solidFill>
                          <a:schemeClr val="tx1"/>
                        </a:solidFill>
                        <a:effectLst/>
                        <a:latin typeface="MSPゴシック"/>
                        <a:ea typeface="+mn-ea"/>
                        <a:cs typeface="+mn-cs"/>
                      </a:endParaRPr>
                    </a:p>
                  </a:txBody>
                  <a:tcPr marL="36000" marR="36000" marT="36000" marB="3600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l" fontAlgn="ctr"/>
                      <a:r>
                        <a:rPr kumimoji="1" lang="ja-JP" altLang="en-US" sz="900" b="0" i="0" u="none" strike="noStrike" kern="1200">
                          <a:solidFill>
                            <a:srgbClr val="000000"/>
                          </a:solidFill>
                          <a:effectLst/>
                          <a:latin typeface="MSPゴシック"/>
                          <a:ea typeface="+mn-ea"/>
                          <a:cs typeface="+mn-cs"/>
                        </a:rPr>
                        <a:t>ワーク・ライフ・バランス等推進企業に関する資格の取得状況を記載</a:t>
                      </a:r>
                    </a:p>
                  </a:txBody>
                  <a:tcPr marL="72000" marR="72000" marT="7620" marB="0"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66552907"/>
                  </a:ext>
                </a:extLst>
              </a:tr>
            </a:tbl>
          </a:graphicData>
        </a:graphic>
      </p:graphicFrame>
    </p:spTree>
    <p:extLst>
      <p:ext uri="{BB962C8B-B14F-4D97-AF65-F5344CB8AC3E}">
        <p14:creationId xmlns:p14="http://schemas.microsoft.com/office/powerpoint/2010/main" val="19945245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現状把握・将来構想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69</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１）社会課題・地域課題・利用者ニーズの整理</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2" name="正方形/長方形 11">
            <a:extLst>
              <a:ext uri="{FF2B5EF4-FFF2-40B4-BE49-F238E27FC236}">
                <a16:creationId xmlns:a16="http://schemas.microsoft.com/office/drawing/2014/main" id="{1EE04BF0-0F99-47B4-BAA3-BCD04FA4F45A}"/>
              </a:ext>
            </a:extLst>
          </p:cNvPr>
          <p:cNvSpPr/>
          <p:nvPr/>
        </p:nvSpPr>
        <p:spPr>
          <a:xfrm>
            <a:off x="190939" y="1212958"/>
            <a:ext cx="8762062" cy="5384394"/>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rPr>
              <a:t> </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事業実施の背景にある社会課題や地域課題、利用者（本提案内容の受益者）のニーズを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 </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15</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18</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4" name="正方形/長方形 3">
            <a:extLst>
              <a:ext uri="{FF2B5EF4-FFF2-40B4-BE49-F238E27FC236}">
                <a16:creationId xmlns:a16="http://schemas.microsoft.com/office/drawing/2014/main" id="{0C8F7798-B76C-4C96-8BCB-4C45BD7B33C2}"/>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4513667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２））</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現状把握・将来構想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70</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rgbClr val="FFFFFF"/>
                </a:solidFill>
                <a:effectLst/>
                <a:uLnTx/>
                <a:uFillTx/>
                <a:latin typeface="MSPゴシック"/>
                <a:ea typeface="ＭＳ Ｐゴシック"/>
                <a:cs typeface="+mn-cs"/>
              </a:rPr>
              <a:t>（２）将来構想</a:t>
            </a:r>
          </a:p>
        </p:txBody>
      </p:sp>
      <p:sp>
        <p:nvSpPr>
          <p:cNvPr id="12" name="正方形/長方形 11">
            <a:extLst>
              <a:ext uri="{FF2B5EF4-FFF2-40B4-BE49-F238E27FC236}">
                <a16:creationId xmlns:a16="http://schemas.microsoft.com/office/drawing/2014/main" id="{1EE04BF0-0F99-47B4-BAA3-BCD04FA4F45A}"/>
              </a:ext>
            </a:extLst>
          </p:cNvPr>
          <p:cNvSpPr/>
          <p:nvPr/>
        </p:nvSpPr>
        <p:spPr>
          <a:xfrm>
            <a:off x="190939" y="1212958"/>
            <a:ext cx="8762062" cy="5384394"/>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１）で記載した背景や課題を受けて、将来的に実装を目指すサービス像の詳細やビジネスモデル、横展開構想等を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　 可能であればサービスや金銭の流れを図示したビジネスモデル図をご記載ください。</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将来構想によって、「誰に」「どのような」価値がもたらせるのかが分かるように記載して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19</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24</a:t>
            </a:r>
          </a:p>
        </p:txBody>
      </p:sp>
      <p:sp>
        <p:nvSpPr>
          <p:cNvPr id="14" name="正方形/長方形 3">
            <a:extLst>
              <a:ext uri="{FF2B5EF4-FFF2-40B4-BE49-F238E27FC236}">
                <a16:creationId xmlns:a16="http://schemas.microsoft.com/office/drawing/2014/main" id="{0C8F7798-B76C-4C96-8BCB-4C45BD7B33C2}"/>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6231378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２．スマートシティ関連事業への応募状況　</a:t>
            </a:r>
            <a:r>
              <a:rPr kumimoji="1" lang="en-US" altLang="ja-JP"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者名</a:t>
            </a:r>
            <a:r>
              <a:rPr kumimoji="1" lang="en-US" altLang="ja-JP"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232" name="テキスト ボックス 15"/>
          <p:cNvSpPr txBox="1"/>
          <p:nvPr/>
        </p:nvSpPr>
        <p:spPr>
          <a:xfrm>
            <a:off x="17247" y="4246238"/>
            <a:ext cx="5673838"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ＭＳ Ｐゴシック"/>
                <a:ea typeface="ＭＳ Ｐゴシック"/>
                <a:cs typeface="+mn-cs"/>
              </a:rPr>
              <a:t>【</a:t>
            </a:r>
            <a:r>
              <a:rPr kumimoji="1" lang="ja-JP" altLang="en-US" sz="1400" b="0" i="0" u="none" strike="noStrike" kern="1200" cap="none" spc="0" normalizeH="0" baseline="0" noProof="0">
                <a:ln>
                  <a:noFill/>
                </a:ln>
                <a:solidFill>
                  <a:srgbClr val="000000"/>
                </a:solidFill>
                <a:effectLst/>
                <a:uLnTx/>
                <a:uFillTx/>
                <a:latin typeface="ＭＳ Ｐゴシック"/>
                <a:ea typeface="ＭＳ Ｐゴシック"/>
                <a:cs typeface="+mn-cs"/>
              </a:rPr>
              <a:t>関連事業応募・採択状況</a:t>
            </a:r>
            <a:r>
              <a:rPr kumimoji="1" lang="en-US" altLang="ja-JP" sz="1400" b="0" i="0" u="none" strike="noStrike" kern="1200" cap="none" spc="0" normalizeH="0" baseline="0" noProof="0">
                <a:ln>
                  <a:noFill/>
                </a:ln>
                <a:solidFill>
                  <a:srgbClr val="000000"/>
                </a:solidFill>
                <a:effectLst/>
                <a:uLnTx/>
                <a:uFillTx/>
                <a:latin typeface="ＭＳ Ｐゴシック"/>
                <a:ea typeface="ＭＳ Ｐゴシック"/>
                <a:cs typeface="+mn-cs"/>
              </a:rPr>
              <a:t>】</a:t>
            </a:r>
            <a:r>
              <a:rPr kumimoji="1" lang="ja-JP" altLang="en-US" sz="1400" b="0" i="0" u="none" strike="noStrike" kern="1200" cap="none" spc="0" normalizeH="0" baseline="0" noProof="0">
                <a:ln>
                  <a:noFill/>
                </a:ln>
                <a:solidFill>
                  <a:srgbClr val="000000"/>
                </a:solidFill>
                <a:effectLst/>
                <a:uLnTx/>
                <a:uFillTx/>
                <a:latin typeface="ＭＳ Ｐゴシック"/>
                <a:ea typeface="ＭＳ Ｐゴシック"/>
                <a:cs typeface="+mn-cs"/>
              </a:rPr>
              <a:t>　</a:t>
            </a:r>
            <a:r>
              <a:rPr kumimoji="1" lang="ja-JP" altLang="en-US" sz="1400" b="0" i="1" u="none" strike="noStrike" kern="1200" cap="none" spc="0" normalizeH="0" baseline="0" noProof="0">
                <a:ln>
                  <a:noFill/>
                </a:ln>
                <a:solidFill>
                  <a:srgbClr val="FF0000"/>
                </a:solidFill>
                <a:effectLst/>
                <a:uLnTx/>
                <a:uFillTx/>
                <a:latin typeface="ＭＳ Ｐゴシック"/>
                <a:ea typeface="ＭＳ Ｐゴシック"/>
                <a:cs typeface="+mn-cs"/>
              </a:rPr>
              <a:t>該当する事業に○をつけること</a:t>
            </a:r>
          </a:p>
        </p:txBody>
      </p:sp>
      <p:sp>
        <p:nvSpPr>
          <p:cNvPr id="1234" name="テキスト ボックス 18"/>
          <p:cNvSpPr txBox="1"/>
          <p:nvPr/>
        </p:nvSpPr>
        <p:spPr>
          <a:xfrm>
            <a:off x="57870" y="548680"/>
            <a:ext cx="5234210"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a:ln>
                  <a:noFill/>
                </a:ln>
                <a:solidFill>
                  <a:srgbClr val="000000"/>
                </a:solidFill>
                <a:effectLst/>
                <a:uLnTx/>
                <a:uFillTx/>
                <a:latin typeface="ＭＳ Ｐゴシック"/>
                <a:ea typeface="ＭＳ Ｐゴシック"/>
                <a:cs typeface="+mn-cs"/>
              </a:rPr>
              <a:t>【</a:t>
            </a:r>
            <a:r>
              <a:rPr kumimoji="1" lang="ja-JP" altLang="en-US" sz="1400" b="0" i="0" u="none" strike="noStrike" kern="1200" cap="none" spc="0" normalizeH="0" baseline="0" noProof="0">
                <a:ln>
                  <a:noFill/>
                </a:ln>
                <a:solidFill>
                  <a:srgbClr val="000000"/>
                </a:solidFill>
                <a:effectLst/>
                <a:uLnTx/>
                <a:uFillTx/>
                <a:latin typeface="ＭＳ Ｐゴシック"/>
                <a:ea typeface="ＭＳ Ｐゴシック"/>
                <a:cs typeface="+mn-cs"/>
              </a:rPr>
              <a:t>応募事業</a:t>
            </a:r>
            <a:r>
              <a:rPr kumimoji="1" lang="en-US" altLang="ja-JP" sz="1400" b="0" i="0" u="none" strike="noStrike" kern="1200" cap="none" spc="0" normalizeH="0" baseline="0" noProof="0">
                <a:ln>
                  <a:noFill/>
                </a:ln>
                <a:solidFill>
                  <a:srgbClr val="000000"/>
                </a:solidFill>
                <a:effectLst/>
                <a:uLnTx/>
                <a:uFillTx/>
                <a:latin typeface="ＭＳ Ｐゴシック"/>
                <a:ea typeface="ＭＳ Ｐゴシック"/>
                <a:cs typeface="+mn-cs"/>
              </a:rPr>
              <a:t>】</a:t>
            </a:r>
            <a:r>
              <a:rPr kumimoji="1" lang="ja-JP" altLang="en-US" sz="1400" b="0" i="0" u="none" strike="noStrike" kern="1200" cap="none" spc="0" normalizeH="0" baseline="0" noProof="0">
                <a:ln>
                  <a:noFill/>
                </a:ln>
                <a:solidFill>
                  <a:srgbClr val="000000"/>
                </a:solidFill>
                <a:effectLst/>
                <a:uLnTx/>
                <a:uFillTx/>
                <a:latin typeface="ＭＳ Ｐゴシック"/>
                <a:ea typeface="ＭＳ Ｐゴシック"/>
                <a:cs typeface="+mn-cs"/>
              </a:rPr>
              <a:t>　　</a:t>
            </a:r>
            <a:r>
              <a:rPr kumimoji="1" lang="en-US" altLang="ja-JP" sz="1400" b="0" i="1" u="none" strike="noStrike" kern="1200" cap="none" spc="0" normalizeH="0" baseline="0" noProof="0">
                <a:ln>
                  <a:noFill/>
                </a:ln>
                <a:solidFill>
                  <a:srgbClr val="FF0000"/>
                </a:solidFill>
                <a:effectLst/>
                <a:uLnTx/>
                <a:uFillTx/>
                <a:latin typeface="ＭＳ Ｐゴシック"/>
                <a:ea typeface="ＭＳ Ｐゴシック"/>
                <a:cs typeface="+mn-cs"/>
              </a:rPr>
              <a:t>※</a:t>
            </a:r>
            <a:r>
              <a:rPr kumimoji="1" lang="ja-JP" altLang="en-US" sz="1400" b="0" i="1" u="none" strike="noStrike" kern="1200" cap="none" spc="0" normalizeH="0" baseline="0" noProof="0">
                <a:ln>
                  <a:noFill/>
                </a:ln>
                <a:solidFill>
                  <a:srgbClr val="FF0000"/>
                </a:solidFill>
                <a:effectLst/>
                <a:uLnTx/>
                <a:uFillTx/>
                <a:latin typeface="ＭＳ Ｐゴシック"/>
                <a:ea typeface="ＭＳ Ｐゴシック"/>
                <a:cs typeface="+mn-cs"/>
              </a:rPr>
              <a:t>応募しない事業の行は削除すること</a:t>
            </a:r>
          </a:p>
        </p:txBody>
      </p:sp>
      <p:sp>
        <p:nvSpPr>
          <p:cNvPr id="1236" name="テキスト ボックス 16"/>
          <p:cNvSpPr txBox="1"/>
          <p:nvPr/>
        </p:nvSpPr>
        <p:spPr>
          <a:xfrm>
            <a:off x="242046" y="6280214"/>
            <a:ext cx="8794450" cy="5539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１：施策名は、平成</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9</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度～令和２年度「データ利活用型スマートシティ推進事業」、令和</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3</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度「データ連携促進型スマートシティ推進事業」、</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　　　　 令和</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4</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度～令和</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6</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度「地域課題解決のためのスマートシティ推進事業」</a:t>
            </a:r>
            <a:endPar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２：令和元～３年度「スマートシティモデルプロジェクト」 　　</a:t>
            </a:r>
            <a:r>
              <a:rPr kumimoji="1" lang="en-US" altLang="ja-JP"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３：令和元年度の施策名は「新モビリティサービス推進事業」</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66AD1B6A-CF5E-4516-931F-C026AA17EAE4}" type="slidenum">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2</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graphicFrame>
        <p:nvGraphicFramePr>
          <p:cNvPr id="1233" name="表 4"/>
          <p:cNvGraphicFramePr>
            <a:graphicFrameLocks noGrp="1"/>
          </p:cNvGraphicFramePr>
          <p:nvPr/>
        </p:nvGraphicFramePr>
        <p:xfrm>
          <a:off x="266314" y="873196"/>
          <a:ext cx="8770182" cy="3367320"/>
        </p:xfrm>
        <a:graphic>
          <a:graphicData uri="http://schemas.openxmlformats.org/drawingml/2006/table">
            <a:tbl>
              <a:tblPr firstRow="1" bandRow="1">
                <a:tableStyleId>{5940675A-B579-460E-94D1-54222C63F5DA}</a:tableStyleId>
              </a:tblPr>
              <a:tblGrid>
                <a:gridCol w="2145446">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5544616">
                  <a:extLst>
                    <a:ext uri="{9D8B030D-6E8A-4147-A177-3AD203B41FA5}">
                      <a16:colId xmlns:a16="http://schemas.microsoft.com/office/drawing/2014/main" val="20002"/>
                    </a:ext>
                  </a:extLst>
                </a:gridCol>
              </a:tblGrid>
              <a:tr h="225745">
                <a:tc rowSpan="2">
                  <a:txBody>
                    <a:bodyPr/>
                    <a:lstStyle/>
                    <a:p>
                      <a:r>
                        <a:rPr kumimoji="1" lang="ja-JP" altLang="en-US" sz="1100">
                          <a:solidFill>
                            <a:schemeClr val="tx1"/>
                          </a:solidFill>
                          <a:latin typeface="+mn-ea"/>
                          <a:ea typeface="+mn-ea"/>
                        </a:rPr>
                        <a:t>内閣府 「未来技術社会実装事業」</a:t>
                      </a:r>
                    </a:p>
                  </a:txBody>
                  <a:tcPr/>
                </a:tc>
                <a:tc>
                  <a:txBody>
                    <a:bodyPr/>
                    <a:lstStyle/>
                    <a:p>
                      <a:r>
                        <a:rPr kumimoji="1" lang="ja-JP" altLang="en-US" sz="1200">
                          <a:solidFill>
                            <a:schemeClr val="tx1"/>
                          </a:solidFill>
                          <a:latin typeface="+mn-ea"/>
                          <a:ea typeface="+mn-ea"/>
                        </a:rPr>
                        <a:t>事業名</a:t>
                      </a:r>
                    </a:p>
                  </a:txBody>
                  <a:tcPr/>
                </a:tc>
                <a:tc>
                  <a:txBody>
                    <a:bodyPr/>
                    <a:lstStyle/>
                    <a:p>
                      <a:endParaRPr kumimoji="1" lang="ja-JP" altLang="en-US" sz="1200">
                        <a:solidFill>
                          <a:schemeClr val="tx1"/>
                        </a:solidFill>
                        <a:latin typeface="+mn-ea"/>
                        <a:ea typeface="+mn-ea"/>
                      </a:endParaRPr>
                    </a:p>
                  </a:txBody>
                  <a:tcPr/>
                </a:tc>
                <a:extLst>
                  <a:ext uri="{0D108BD9-81ED-4DB2-BD59-A6C34878D82A}">
                    <a16:rowId xmlns:a16="http://schemas.microsoft.com/office/drawing/2014/main" val="10000"/>
                  </a:ext>
                </a:extLst>
              </a:tr>
              <a:tr h="225745">
                <a:tc vMerge="1">
                  <a:txBody>
                    <a:bodyPr/>
                    <a:lstStyle/>
                    <a:p>
                      <a:endParaRPr lang="ja-JP" altLang="en-US" sz="1200">
                        <a:latin typeface="+mn-ea"/>
                        <a:ea typeface="+mn-ea"/>
                      </a:endParaRPr>
                    </a:p>
                  </a:txBody>
                  <a:tcPr/>
                </a:tc>
                <a:tc>
                  <a:txBody>
                    <a:bodyPr/>
                    <a:lstStyle/>
                    <a:p>
                      <a:r>
                        <a:rPr kumimoji="1" lang="ja-JP" altLang="en-US" sz="1100">
                          <a:solidFill>
                            <a:schemeClr val="tx1"/>
                          </a:solidFill>
                          <a:latin typeface="+mn-ea"/>
                          <a:ea typeface="+mn-ea"/>
                        </a:rPr>
                        <a:t>実施団体名</a:t>
                      </a:r>
                    </a:p>
                  </a:txBody>
                  <a:tcPr/>
                </a:tc>
                <a:tc>
                  <a:txBody>
                    <a:bodyPr/>
                    <a:lstStyle/>
                    <a:p>
                      <a:endParaRPr kumimoji="1" lang="ja-JP" altLang="en-US" sz="1100">
                        <a:solidFill>
                          <a:schemeClr val="tx1"/>
                        </a:solidFill>
                        <a:latin typeface="+mn-ea"/>
                        <a:ea typeface="+mn-ea"/>
                      </a:endParaRPr>
                    </a:p>
                  </a:txBody>
                  <a:tcPr/>
                </a:tc>
                <a:extLst>
                  <a:ext uri="{0D108BD9-81ED-4DB2-BD59-A6C34878D82A}">
                    <a16:rowId xmlns:a16="http://schemas.microsoft.com/office/drawing/2014/main" val="10001"/>
                  </a:ext>
                </a:extLst>
              </a:tr>
              <a:tr h="225745">
                <a:tc rowSpan="2">
                  <a:txBody>
                    <a:bodyPr/>
                    <a:lstStyle/>
                    <a:p>
                      <a:r>
                        <a:rPr lang="ja-JP" altLang="en-US" sz="1100">
                          <a:solidFill>
                            <a:schemeClr val="tx1"/>
                          </a:solidFill>
                          <a:latin typeface="+mn-ea"/>
                          <a:ea typeface="+mn-ea"/>
                        </a:rPr>
                        <a:t>総務省「地域社会</a:t>
                      </a:r>
                      <a:r>
                        <a:rPr lang="en-US" altLang="ja-JP" sz="1100">
                          <a:solidFill>
                            <a:schemeClr val="tx1"/>
                          </a:solidFill>
                          <a:latin typeface="+mn-ea"/>
                          <a:ea typeface="+mn-ea"/>
                        </a:rPr>
                        <a:t>DX</a:t>
                      </a:r>
                      <a:r>
                        <a:rPr lang="ja-JP" altLang="en-US" sz="1100">
                          <a:solidFill>
                            <a:schemeClr val="tx1"/>
                          </a:solidFill>
                          <a:latin typeface="+mn-ea"/>
                          <a:ea typeface="+mn-ea"/>
                        </a:rPr>
                        <a:t>推進パッケージ事業」（補助事業）</a:t>
                      </a:r>
                    </a:p>
                  </a:txBody>
                  <a:tcPr/>
                </a:tc>
                <a:tc>
                  <a:txBody>
                    <a:bodyPr/>
                    <a:lstStyle/>
                    <a:p>
                      <a:r>
                        <a:rPr kumimoji="1" lang="ja-JP" altLang="en-US" sz="1100">
                          <a:solidFill>
                            <a:schemeClr val="tx1"/>
                          </a:solidFill>
                          <a:latin typeface="+mn-ea"/>
                          <a:ea typeface="+mn-ea"/>
                        </a:rPr>
                        <a:t>事業名</a:t>
                      </a:r>
                    </a:p>
                  </a:txBody>
                  <a:tcPr/>
                </a:tc>
                <a:tc>
                  <a:txBody>
                    <a:bodyPr/>
                    <a:lstStyle/>
                    <a:p>
                      <a:endParaRPr kumimoji="1" lang="ja-JP" altLang="en-US" sz="1100">
                        <a:solidFill>
                          <a:schemeClr val="tx1"/>
                        </a:solidFill>
                        <a:latin typeface="+mn-ea"/>
                        <a:ea typeface="+mn-ea"/>
                      </a:endParaRPr>
                    </a:p>
                  </a:txBody>
                  <a:tcPr/>
                </a:tc>
                <a:extLst>
                  <a:ext uri="{0D108BD9-81ED-4DB2-BD59-A6C34878D82A}">
                    <a16:rowId xmlns:a16="http://schemas.microsoft.com/office/drawing/2014/main" val="10002"/>
                  </a:ext>
                </a:extLst>
              </a:tr>
              <a:tr h="300994">
                <a:tc vMerge="1">
                  <a:txBody>
                    <a:bodyPr/>
                    <a:lstStyle/>
                    <a:p>
                      <a:endParaRPr lang="ja-JP" altLang="en-US" sz="1200">
                        <a:latin typeface="+mn-ea"/>
                        <a:ea typeface="+mn-ea"/>
                      </a:endParaRPr>
                    </a:p>
                  </a:txBody>
                  <a:tcPr/>
                </a:tc>
                <a:tc>
                  <a:txBody>
                    <a:bodyPr/>
                    <a:lstStyle/>
                    <a:p>
                      <a:r>
                        <a:rPr kumimoji="1" lang="ja-JP" altLang="en-US" sz="1100">
                          <a:solidFill>
                            <a:schemeClr val="tx1"/>
                          </a:solidFill>
                          <a:latin typeface="+mn-ea"/>
                          <a:ea typeface="+mn-ea"/>
                        </a:rPr>
                        <a:t>実施団体名</a:t>
                      </a:r>
                    </a:p>
                  </a:txBody>
                  <a:tcPr/>
                </a:tc>
                <a:tc>
                  <a:txBody>
                    <a:bodyPr/>
                    <a:lstStyle/>
                    <a:p>
                      <a:r>
                        <a:rPr kumimoji="1" lang="en-US" altLang="ja-JP" sz="1100" i="1">
                          <a:solidFill>
                            <a:schemeClr val="tx1"/>
                          </a:solidFill>
                          <a:latin typeface="+mn-ea"/>
                          <a:ea typeface="+mn-ea"/>
                        </a:rPr>
                        <a:t>※</a:t>
                      </a:r>
                      <a:r>
                        <a:rPr kumimoji="1" lang="ja-JP" altLang="en-US" sz="1100" i="1">
                          <a:solidFill>
                            <a:schemeClr val="tx1"/>
                          </a:solidFill>
                          <a:latin typeface="+mn-ea"/>
                          <a:ea typeface="+mn-ea"/>
                        </a:rPr>
                        <a:t>　実施団体（補助事業者）となる地方公共団体又は民間事業者等の名称を記載</a:t>
                      </a:r>
                    </a:p>
                    <a:p>
                      <a:r>
                        <a:rPr kumimoji="1" lang="ja-JP" altLang="en-US" sz="1100" i="1">
                          <a:solidFill>
                            <a:schemeClr val="tx1"/>
                          </a:solidFill>
                          <a:latin typeface="+mn-ea"/>
                          <a:ea typeface="+mn-ea"/>
                        </a:rPr>
                        <a:t>（一部事務組合又は広域連合をはじめとする連携主体（法人格を有さないコンソーシアムは含まない）が実施団体となる場合は、当該連携主体の名称を記載）</a:t>
                      </a:r>
                    </a:p>
                  </a:txBody>
                  <a:tcPr/>
                </a:tc>
                <a:extLst>
                  <a:ext uri="{0D108BD9-81ED-4DB2-BD59-A6C34878D82A}">
                    <a16:rowId xmlns:a16="http://schemas.microsoft.com/office/drawing/2014/main" val="10003"/>
                  </a:ext>
                </a:extLst>
              </a:tr>
              <a:tr h="150497">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tx1"/>
                          </a:solidFill>
                          <a:latin typeface="+mn-ea"/>
                          <a:ea typeface="+mn-ea"/>
                        </a:rPr>
                        <a:t>国土交通省 「スマートシティ実装化支援事業」</a:t>
                      </a:r>
                    </a:p>
                  </a:txBody>
                  <a:tcPr/>
                </a:tc>
                <a:tc>
                  <a:txBody>
                    <a:bodyPr/>
                    <a:lstStyle/>
                    <a:p>
                      <a:r>
                        <a:rPr kumimoji="1" lang="ja-JP" altLang="en-US" sz="1100">
                          <a:solidFill>
                            <a:schemeClr val="tx1"/>
                          </a:solidFill>
                          <a:latin typeface="+mn-ea"/>
                          <a:ea typeface="+mn-ea"/>
                        </a:rPr>
                        <a:t>事業名</a:t>
                      </a:r>
                    </a:p>
                  </a:txBody>
                  <a:tcPr/>
                </a:tc>
                <a:tc>
                  <a:txBody>
                    <a:bodyPr/>
                    <a:lstStyle/>
                    <a:p>
                      <a:endParaRPr kumimoji="1" lang="ja-JP" altLang="en-US" sz="1100" i="1">
                        <a:solidFill>
                          <a:schemeClr val="tx1"/>
                        </a:solidFill>
                        <a:latin typeface="+mn-ea"/>
                        <a:ea typeface="+mn-ea"/>
                      </a:endParaRPr>
                    </a:p>
                  </a:txBody>
                  <a:tcPr/>
                </a:tc>
                <a:extLst>
                  <a:ext uri="{0D108BD9-81ED-4DB2-BD59-A6C34878D82A}">
                    <a16:rowId xmlns:a16="http://schemas.microsoft.com/office/drawing/2014/main" val="3127345282"/>
                  </a:ext>
                </a:extLst>
              </a:tr>
              <a:tr h="150497">
                <a:tc vMerge="1">
                  <a:txBody>
                    <a:bodyPr/>
                    <a:lstStyle/>
                    <a:p>
                      <a:endParaRPr kumimoji="1" lang="ja-JP" altLang="en-US"/>
                    </a:p>
                  </a:txBody>
                  <a:tcPr/>
                </a:tc>
                <a:tc>
                  <a:txBody>
                    <a:bodyPr/>
                    <a:lstStyle/>
                    <a:p>
                      <a:r>
                        <a:rPr kumimoji="1" lang="ja-JP" altLang="en-US" sz="1100">
                          <a:solidFill>
                            <a:schemeClr val="tx1"/>
                          </a:solidFill>
                          <a:latin typeface="+mn-ea"/>
                          <a:ea typeface="+mn-ea"/>
                        </a:rPr>
                        <a:t>団体名</a:t>
                      </a:r>
                    </a:p>
                  </a:txBody>
                  <a:tcPr/>
                </a:tc>
                <a:tc>
                  <a:txBody>
                    <a:bodyPr/>
                    <a:lstStyle/>
                    <a:p>
                      <a:endParaRPr kumimoji="1" lang="ja-JP" altLang="en-US" sz="1100" i="1">
                        <a:solidFill>
                          <a:schemeClr val="tx1"/>
                        </a:solidFill>
                        <a:latin typeface="+mn-ea"/>
                        <a:ea typeface="+mn-ea"/>
                      </a:endParaRPr>
                    </a:p>
                  </a:txBody>
                  <a:tcPr/>
                </a:tc>
                <a:extLst>
                  <a:ext uri="{0D108BD9-81ED-4DB2-BD59-A6C34878D82A}">
                    <a16:rowId xmlns:a16="http://schemas.microsoft.com/office/drawing/2014/main" val="2590993732"/>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tx1"/>
                          </a:solidFill>
                          <a:latin typeface="+mn-ea"/>
                          <a:ea typeface="+mn-ea"/>
                        </a:rPr>
                        <a:t>経済産業省 「</a:t>
                      </a:r>
                      <a:r>
                        <a:rPr kumimoji="1" lang="zh-TW" altLang="en-US" sz="1100">
                          <a:solidFill>
                            <a:schemeClr val="tx1"/>
                          </a:solidFill>
                          <a:latin typeface="+mn-ea"/>
                          <a:ea typeface="+mn-ea"/>
                        </a:rPr>
                        <a:t>地域新</a:t>
                      </a:r>
                      <a:r>
                        <a:rPr kumimoji="1" lang="en-US" altLang="zh-TW" sz="1100" err="1">
                          <a:solidFill>
                            <a:schemeClr val="tx1"/>
                          </a:solidFill>
                          <a:latin typeface="+mn-ea"/>
                          <a:ea typeface="+mn-ea"/>
                        </a:rPr>
                        <a:t>MaaS</a:t>
                      </a:r>
                      <a:r>
                        <a:rPr kumimoji="1" lang="zh-TW" altLang="en-US" sz="1100">
                          <a:solidFill>
                            <a:schemeClr val="tx1"/>
                          </a:solidFill>
                          <a:latin typeface="+mn-ea"/>
                          <a:ea typeface="+mn-ea"/>
                        </a:rPr>
                        <a:t>創出推進事業</a:t>
                      </a:r>
                      <a:r>
                        <a:rPr kumimoji="1" lang="ja-JP" altLang="en-US" sz="1100">
                          <a:solidFill>
                            <a:schemeClr val="tx1"/>
                          </a:solidFill>
                          <a:latin typeface="+mn-ea"/>
                          <a:ea typeface="+mn-ea"/>
                        </a:rPr>
                        <a:t>」</a:t>
                      </a:r>
                    </a:p>
                  </a:txBody>
                  <a:tcPr/>
                </a:tc>
                <a:tc>
                  <a:txBody>
                    <a:bodyPr/>
                    <a:lstStyle/>
                    <a:p>
                      <a:r>
                        <a:rPr kumimoji="1" lang="ja-JP" altLang="en-US" sz="1100">
                          <a:solidFill>
                            <a:schemeClr val="tx1"/>
                          </a:solidFill>
                          <a:latin typeface="+mn-ea"/>
                          <a:ea typeface="+mn-ea"/>
                        </a:rPr>
                        <a:t>事業名</a:t>
                      </a:r>
                    </a:p>
                  </a:txBody>
                  <a:tcPr/>
                </a:tc>
                <a:tc>
                  <a:txBody>
                    <a:bodyPr/>
                    <a:lstStyle/>
                    <a:p>
                      <a:endParaRPr kumimoji="1" lang="ja-JP" altLang="en-US" sz="1100">
                        <a:solidFill>
                          <a:schemeClr val="tx1"/>
                        </a:solidFill>
                        <a:latin typeface="+mn-ea"/>
                        <a:ea typeface="+mn-ea"/>
                      </a:endParaRPr>
                    </a:p>
                  </a:txBody>
                  <a:tcPr/>
                </a:tc>
                <a:extLst>
                  <a:ext uri="{0D108BD9-81ED-4DB2-BD59-A6C34878D82A}">
                    <a16:rowId xmlns:a16="http://schemas.microsoft.com/office/drawing/2014/main" val="10004"/>
                  </a:ext>
                </a:extLst>
              </a:tr>
              <a:tr h="273600">
                <a:tc vMerge="1">
                  <a:txBody>
                    <a:bodyPr/>
                    <a:lstStyle/>
                    <a:p>
                      <a:endParaRPr kumimoji="1" lang="ja-JP" altLang="en-US" sz="1200">
                        <a:latin typeface="+mn-ea"/>
                        <a:ea typeface="+mn-ea"/>
                      </a:endParaRPr>
                    </a:p>
                  </a:txBody>
                  <a:tcPr/>
                </a:tc>
                <a:tc>
                  <a:txBody>
                    <a:bodyPr/>
                    <a:lstStyle/>
                    <a:p>
                      <a:r>
                        <a:rPr kumimoji="1" lang="ja-JP" altLang="en-US" sz="1100">
                          <a:solidFill>
                            <a:schemeClr val="tx1"/>
                          </a:solidFill>
                          <a:latin typeface="+mn-ea"/>
                          <a:ea typeface="+mn-ea"/>
                        </a:rPr>
                        <a:t>実施団体名</a:t>
                      </a:r>
                    </a:p>
                  </a:txBody>
                  <a:tcPr/>
                </a:tc>
                <a:tc>
                  <a:txBody>
                    <a:bodyPr/>
                    <a:lstStyle/>
                    <a:p>
                      <a:endParaRPr kumimoji="1" lang="ja-JP" altLang="en-US" sz="1100">
                        <a:solidFill>
                          <a:schemeClr val="tx1"/>
                        </a:solidFill>
                        <a:latin typeface="+mn-ea"/>
                        <a:ea typeface="+mn-ea"/>
                      </a:endParaRPr>
                    </a:p>
                  </a:txBody>
                  <a:tcPr/>
                </a:tc>
                <a:extLst>
                  <a:ext uri="{0D108BD9-81ED-4DB2-BD59-A6C34878D82A}">
                    <a16:rowId xmlns:a16="http://schemas.microsoft.com/office/drawing/2014/main" val="10005"/>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tx1"/>
                          </a:solidFill>
                          <a:latin typeface="+mn-ea"/>
                          <a:ea typeface="+mn-ea"/>
                        </a:rPr>
                        <a:t>国土交通省 「日本版</a:t>
                      </a:r>
                      <a:r>
                        <a:rPr kumimoji="1" lang="en-US" altLang="ja-JP" sz="1100" err="1">
                          <a:solidFill>
                            <a:schemeClr val="tx1"/>
                          </a:solidFill>
                          <a:latin typeface="+mn-ea"/>
                          <a:ea typeface="+mn-ea"/>
                        </a:rPr>
                        <a:t>MaaS</a:t>
                      </a:r>
                      <a:r>
                        <a:rPr kumimoji="1" lang="ja-JP" altLang="en-US" sz="1100">
                          <a:solidFill>
                            <a:schemeClr val="tx1"/>
                          </a:solidFill>
                          <a:latin typeface="+mn-ea"/>
                          <a:ea typeface="+mn-ea"/>
                        </a:rPr>
                        <a:t>推進・支援事業（「交通空白」解消等リ・デザイン全面展開プロジェクト）」（以下、「日本版</a:t>
                      </a:r>
                      <a:r>
                        <a:rPr kumimoji="1" lang="en-US" altLang="ja-JP" sz="1100" err="1">
                          <a:solidFill>
                            <a:schemeClr val="tx1"/>
                          </a:solidFill>
                          <a:latin typeface="+mn-ea"/>
                          <a:ea typeface="+mn-ea"/>
                        </a:rPr>
                        <a:t>MaaS</a:t>
                      </a:r>
                      <a:r>
                        <a:rPr kumimoji="1" lang="ja-JP" altLang="en-US" sz="1100">
                          <a:solidFill>
                            <a:schemeClr val="tx1"/>
                          </a:solidFill>
                          <a:latin typeface="+mn-ea"/>
                          <a:ea typeface="+mn-ea"/>
                        </a:rPr>
                        <a:t>推進・支援事業」という。）</a:t>
                      </a:r>
                    </a:p>
                  </a:txBody>
                  <a:tcPr/>
                </a:tc>
                <a:tc>
                  <a:txBody>
                    <a:bodyPr/>
                    <a:lstStyle/>
                    <a:p>
                      <a:r>
                        <a:rPr kumimoji="1" lang="ja-JP" altLang="en-US" sz="1100">
                          <a:solidFill>
                            <a:schemeClr val="tx1"/>
                          </a:solidFill>
                          <a:latin typeface="+mn-ea"/>
                          <a:ea typeface="+mn-ea"/>
                        </a:rPr>
                        <a:t>事業名</a:t>
                      </a:r>
                      <a:endParaRPr kumimoji="1" lang="ja-JP" altLang="en-US" sz="1100" strike="sngStrike">
                        <a:solidFill>
                          <a:srgbClr val="00B050"/>
                        </a:solidFill>
                        <a:latin typeface="+mn-ea"/>
                        <a:ea typeface="+mn-ea"/>
                      </a:endParaRPr>
                    </a:p>
                  </a:txBody>
                  <a:tcPr/>
                </a:tc>
                <a:tc>
                  <a:txBody>
                    <a:bodyPr/>
                    <a:lstStyle/>
                    <a:p>
                      <a:endParaRPr kumimoji="1" lang="ja-JP" altLang="en-US" sz="1100">
                        <a:solidFill>
                          <a:schemeClr val="tx1"/>
                        </a:solidFill>
                        <a:latin typeface="+mn-ea"/>
                        <a:ea typeface="+mn-ea"/>
                      </a:endParaRPr>
                    </a:p>
                  </a:txBody>
                  <a:tcPr/>
                </a:tc>
                <a:extLst>
                  <a:ext uri="{0D108BD9-81ED-4DB2-BD59-A6C34878D82A}">
                    <a16:rowId xmlns:a16="http://schemas.microsoft.com/office/drawing/2014/main" val="10006"/>
                  </a:ext>
                </a:extLst>
              </a:tr>
              <a:tr h="225745">
                <a:tc vMerge="1">
                  <a:txBody>
                    <a:bodyPr/>
                    <a:lstStyle/>
                    <a:p>
                      <a:endParaRPr kumimoji="1" lang="ja-JP" altLang="en-US" sz="1200">
                        <a:latin typeface="+mn-ea"/>
                        <a:ea typeface="+mn-ea"/>
                      </a:endParaRPr>
                    </a:p>
                  </a:txBody>
                  <a:tcPr/>
                </a:tc>
                <a:tc>
                  <a:txBody>
                    <a:bodyPr/>
                    <a:lstStyle/>
                    <a:p>
                      <a:r>
                        <a:rPr kumimoji="1" lang="ja-JP" altLang="en-US" sz="1100">
                          <a:solidFill>
                            <a:schemeClr val="tx1"/>
                          </a:solidFill>
                          <a:latin typeface="+mn-ea"/>
                          <a:ea typeface="+mn-ea"/>
                        </a:rPr>
                        <a:t>申請者</a:t>
                      </a:r>
                    </a:p>
                  </a:txBody>
                  <a:tcPr/>
                </a:tc>
                <a:tc>
                  <a:txBody>
                    <a:bodyPr/>
                    <a:lstStyle/>
                    <a:p>
                      <a:pPr algn="just">
                        <a:spcAft>
                          <a:spcPts val="0"/>
                        </a:spcAft>
                      </a:pPr>
                      <a:r>
                        <a:rPr lang="ja-JP" sz="1100" i="1" kern="10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例）○○協議会、</a:t>
                      </a:r>
                      <a:r>
                        <a:rPr lang="en-US" sz="1100" i="1" kern="10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a:t>
                      </a:r>
                      <a:r>
                        <a:rPr lang="en-US" sz="1100" i="1" kern="100" err="1">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事業</a:t>
                      </a:r>
                      <a:r>
                        <a:rPr lang="ja-JP" sz="1100" i="1" kern="10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実行委員会（仮称）</a:t>
                      </a:r>
                      <a:endParaRPr lang="ja-JP" sz="110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bl>
          </a:graphicData>
        </a:graphic>
      </p:graphicFrame>
      <p:graphicFrame>
        <p:nvGraphicFramePr>
          <p:cNvPr id="1231" name="表 12"/>
          <p:cNvGraphicFramePr>
            <a:graphicFrameLocks noGrp="1"/>
          </p:cNvGraphicFramePr>
          <p:nvPr/>
        </p:nvGraphicFramePr>
        <p:xfrm>
          <a:off x="293177" y="4529607"/>
          <a:ext cx="8685723" cy="1782360"/>
        </p:xfrm>
        <a:graphic>
          <a:graphicData uri="http://schemas.openxmlformats.org/drawingml/2006/table">
            <a:tbl>
              <a:tblPr firstRow="1" bandRow="1">
                <a:tableStyleId>{5940675A-B579-460E-94D1-54222C63F5DA}</a:tableStyleId>
              </a:tblPr>
              <a:tblGrid>
                <a:gridCol w="4374073">
                  <a:extLst>
                    <a:ext uri="{9D8B030D-6E8A-4147-A177-3AD203B41FA5}">
                      <a16:colId xmlns:a16="http://schemas.microsoft.com/office/drawing/2014/main" val="20000"/>
                    </a:ext>
                  </a:extLst>
                </a:gridCol>
                <a:gridCol w="628650">
                  <a:extLst>
                    <a:ext uri="{9D8B030D-6E8A-4147-A177-3AD203B41FA5}">
                      <a16:colId xmlns:a16="http://schemas.microsoft.com/office/drawing/2014/main" val="2326779085"/>
                    </a:ext>
                  </a:extLst>
                </a:gridCol>
                <a:gridCol w="469900">
                  <a:extLst>
                    <a:ext uri="{9D8B030D-6E8A-4147-A177-3AD203B41FA5}">
                      <a16:colId xmlns:a16="http://schemas.microsoft.com/office/drawing/2014/main" val="20001"/>
                    </a:ext>
                  </a:extLst>
                </a:gridCol>
                <a:gridCol w="438150">
                  <a:extLst>
                    <a:ext uri="{9D8B030D-6E8A-4147-A177-3AD203B41FA5}">
                      <a16:colId xmlns:a16="http://schemas.microsoft.com/office/drawing/2014/main" val="3061389270"/>
                    </a:ext>
                  </a:extLst>
                </a:gridCol>
                <a:gridCol w="450850">
                  <a:extLst>
                    <a:ext uri="{9D8B030D-6E8A-4147-A177-3AD203B41FA5}">
                      <a16:colId xmlns:a16="http://schemas.microsoft.com/office/drawing/2014/main" val="509676669"/>
                    </a:ext>
                  </a:extLst>
                </a:gridCol>
                <a:gridCol w="400050">
                  <a:extLst>
                    <a:ext uri="{9D8B030D-6E8A-4147-A177-3AD203B41FA5}">
                      <a16:colId xmlns:a16="http://schemas.microsoft.com/office/drawing/2014/main" val="3044282376"/>
                    </a:ext>
                  </a:extLst>
                </a:gridCol>
                <a:gridCol w="406400">
                  <a:extLst>
                    <a:ext uri="{9D8B030D-6E8A-4147-A177-3AD203B41FA5}">
                      <a16:colId xmlns:a16="http://schemas.microsoft.com/office/drawing/2014/main" val="20002"/>
                    </a:ext>
                  </a:extLst>
                </a:gridCol>
                <a:gridCol w="445963">
                  <a:extLst>
                    <a:ext uri="{9D8B030D-6E8A-4147-A177-3AD203B41FA5}">
                      <a16:colId xmlns:a16="http://schemas.microsoft.com/office/drawing/2014/main" val="20003"/>
                    </a:ext>
                  </a:extLst>
                </a:gridCol>
                <a:gridCol w="589087">
                  <a:extLst>
                    <a:ext uri="{9D8B030D-6E8A-4147-A177-3AD203B41FA5}">
                      <a16:colId xmlns:a16="http://schemas.microsoft.com/office/drawing/2014/main" val="20004"/>
                    </a:ext>
                  </a:extLst>
                </a:gridCol>
                <a:gridCol w="482600">
                  <a:extLst>
                    <a:ext uri="{9D8B030D-6E8A-4147-A177-3AD203B41FA5}">
                      <a16:colId xmlns:a16="http://schemas.microsoft.com/office/drawing/2014/main" val="20005"/>
                    </a:ext>
                  </a:extLst>
                </a:gridCol>
              </a:tblGrid>
              <a:tr h="238929">
                <a:tc gridSpan="2">
                  <a:txBody>
                    <a:bodyPr/>
                    <a:lstStyle/>
                    <a:p>
                      <a:pPr algn="ctr"/>
                      <a:r>
                        <a:rPr kumimoji="1" lang="ja-JP" altLang="en-US" sz="1050">
                          <a:solidFill>
                            <a:schemeClr val="tx1"/>
                          </a:solidFill>
                          <a:latin typeface="Meiryo UI" panose="020B0604030504040204" pitchFamily="50" charset="-128"/>
                          <a:ea typeface="Meiryo UI" panose="020B0604030504040204" pitchFamily="50" charset="-128"/>
                        </a:rPr>
                        <a:t>令和</a:t>
                      </a:r>
                      <a:r>
                        <a:rPr kumimoji="1" lang="en-US" altLang="ja-JP" sz="1050">
                          <a:solidFill>
                            <a:schemeClr val="tx1"/>
                          </a:solidFill>
                          <a:latin typeface="Meiryo UI" panose="020B0604030504040204" pitchFamily="50" charset="-128"/>
                          <a:ea typeface="Meiryo UI" panose="020B0604030504040204" pitchFamily="50" charset="-128"/>
                        </a:rPr>
                        <a:t>7</a:t>
                      </a:r>
                      <a:r>
                        <a:rPr kumimoji="1" lang="ja-JP" altLang="en-US" sz="1050">
                          <a:solidFill>
                            <a:schemeClr val="tx1"/>
                          </a:solidFill>
                          <a:latin typeface="Meiryo UI" panose="020B0604030504040204" pitchFamily="50" charset="-128"/>
                          <a:ea typeface="Meiryo UI" panose="020B0604030504040204" pitchFamily="50" charset="-128"/>
                        </a:rPr>
                        <a:t>年度に応募する事業</a:t>
                      </a:r>
                    </a:p>
                  </a:txBody>
                  <a:tcPr>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endParaRPr kumimoji="1" lang="ja-JP" altLang="en-US"/>
                    </a:p>
                  </a:txBody>
                  <a:tcPr/>
                </a:tc>
                <a:tc gridSpan="8">
                  <a:txBody>
                    <a:bodyPr/>
                    <a:lstStyle/>
                    <a:p>
                      <a:pPr algn="ctr"/>
                      <a:r>
                        <a:rPr kumimoji="1" lang="ja-JP" altLang="en-US" sz="1050">
                          <a:solidFill>
                            <a:schemeClr val="tx1"/>
                          </a:solidFill>
                          <a:latin typeface="Meiryo UI" panose="020B0604030504040204" pitchFamily="50" charset="-128"/>
                          <a:ea typeface="Meiryo UI" panose="020B0604030504040204" pitchFamily="50" charset="-128"/>
                        </a:rPr>
                        <a:t>過去の採択事業</a:t>
                      </a:r>
                    </a:p>
                  </a:txBody>
                  <a:tcPr>
                    <a:lnL w="12700" cap="flat" cmpd="sng" algn="ctr">
                      <a:solidFill>
                        <a:schemeClr val="tx1"/>
                      </a:solidFill>
                      <a:prstDash val="solid"/>
                      <a:round/>
                      <a:headEnd type="none" w="med" len="med"/>
                      <a:tailEnd type="none" w="med" len="med"/>
                    </a:lnL>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0"/>
                  </a:ext>
                </a:extLst>
              </a:tr>
              <a:tr h="238929">
                <a:tc>
                  <a:txBody>
                    <a:bodyPr/>
                    <a:lstStyle/>
                    <a:p>
                      <a:endParaRPr kumimoji="1" lang="ja-JP" altLang="en-US" sz="105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050">
                          <a:solidFill>
                            <a:schemeClr val="tx1"/>
                          </a:solidFill>
                          <a:latin typeface="Meiryo UI" panose="020B0604030504040204" pitchFamily="50" charset="-128"/>
                          <a:ea typeface="Meiryo UI" panose="020B0604030504040204" pitchFamily="50" charset="-128"/>
                        </a:rPr>
                        <a:t>R7</a:t>
                      </a:r>
                      <a:endParaRPr kumimoji="1" lang="ja-JP" altLang="en-US" sz="1050">
                        <a:solidFill>
                          <a:schemeClr val="tx1"/>
                        </a:solidFill>
                        <a:latin typeface="Meiryo UI" panose="020B0604030504040204" pitchFamily="50" charset="-128"/>
                        <a:ea typeface="Meiryo UI" panose="020B0604030504040204" pitchFamily="50" charset="-128"/>
                      </a:endParaRPr>
                    </a:p>
                  </a:txBody>
                  <a:tcPr>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kumimoji="1" lang="en-US" altLang="ja-JP" sz="1050">
                          <a:solidFill>
                            <a:schemeClr val="tx1"/>
                          </a:solidFill>
                          <a:latin typeface="Meiryo UI" panose="020B0604030504040204" pitchFamily="50" charset="-128"/>
                          <a:ea typeface="Meiryo UI" panose="020B0604030504040204" pitchFamily="50" charset="-128"/>
                        </a:rPr>
                        <a:t>R6</a:t>
                      </a:r>
                      <a:endParaRPr kumimoji="1" lang="ja-JP" altLang="en-US" sz="105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kumimoji="1" lang="en-US" altLang="ja-JP" sz="1050">
                          <a:solidFill>
                            <a:schemeClr val="tx1"/>
                          </a:solidFill>
                          <a:latin typeface="Meiryo UI" panose="020B0604030504040204" pitchFamily="50" charset="-128"/>
                          <a:ea typeface="Meiryo UI" panose="020B0604030504040204" pitchFamily="50" charset="-128"/>
                        </a:rPr>
                        <a:t>R5</a:t>
                      </a:r>
                      <a:endParaRPr kumimoji="1" lang="ja-JP" altLang="en-US" sz="105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050">
                          <a:solidFill>
                            <a:schemeClr val="tx1"/>
                          </a:solidFill>
                          <a:latin typeface="Meiryo UI" panose="020B0604030504040204" pitchFamily="50" charset="-128"/>
                          <a:ea typeface="Meiryo UI" panose="020B0604030504040204" pitchFamily="50" charset="-128"/>
                        </a:rPr>
                        <a:t>R4</a:t>
                      </a:r>
                      <a:endParaRPr kumimoji="1" lang="ja-JP" altLang="en-US" sz="105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a:solidFill>
                            <a:schemeClr val="tx1"/>
                          </a:solidFill>
                          <a:latin typeface="Meiryo UI" panose="020B0604030504040204" pitchFamily="50" charset="-128"/>
                          <a:ea typeface="Meiryo UI" panose="020B0604030504040204" pitchFamily="50" charset="-128"/>
                        </a:rPr>
                        <a:t>R3</a:t>
                      </a:r>
                      <a:endParaRPr kumimoji="1" lang="ja-JP" altLang="en-US" sz="105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050">
                          <a:solidFill>
                            <a:schemeClr val="tx1"/>
                          </a:solidFill>
                          <a:latin typeface="Meiryo UI" panose="020B0604030504040204" pitchFamily="50" charset="-128"/>
                          <a:ea typeface="Meiryo UI" panose="020B0604030504040204" pitchFamily="50" charset="-128"/>
                        </a:rPr>
                        <a:t>R2</a:t>
                      </a:r>
                      <a:endParaRPr kumimoji="1" lang="ja-JP" altLang="en-US" sz="105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050">
                          <a:solidFill>
                            <a:schemeClr val="tx1"/>
                          </a:solidFill>
                          <a:latin typeface="Meiryo UI" panose="020B0604030504040204" pitchFamily="50" charset="-128"/>
                          <a:ea typeface="Meiryo UI" panose="020B0604030504040204" pitchFamily="50" charset="-128"/>
                        </a:rPr>
                        <a:t>R1</a:t>
                      </a:r>
                      <a:endParaRPr kumimoji="1" lang="ja-JP" altLang="en-US" sz="105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050">
                          <a:solidFill>
                            <a:schemeClr val="tx1"/>
                          </a:solidFill>
                          <a:latin typeface="Meiryo UI" panose="020B0604030504040204" pitchFamily="50" charset="-128"/>
                          <a:ea typeface="Meiryo UI" panose="020B0604030504040204" pitchFamily="50" charset="-128"/>
                        </a:rPr>
                        <a:t>H30</a:t>
                      </a:r>
                    </a:p>
                  </a:txBody>
                  <a:tcPr>
                    <a:solidFill>
                      <a:schemeClr val="bg1">
                        <a:lumMod val="85000"/>
                      </a:schemeClr>
                    </a:solidFill>
                  </a:tcPr>
                </a:tc>
                <a:tc>
                  <a:txBody>
                    <a:bodyPr/>
                    <a:lstStyle/>
                    <a:p>
                      <a:pPr algn="ctr"/>
                      <a:r>
                        <a:rPr kumimoji="1" lang="en-US" altLang="ja-JP" sz="1050">
                          <a:solidFill>
                            <a:schemeClr val="tx1"/>
                          </a:solidFill>
                          <a:latin typeface="Meiryo UI" panose="020B0604030504040204" pitchFamily="50" charset="-128"/>
                          <a:ea typeface="Meiryo UI" panose="020B0604030504040204" pitchFamily="50" charset="-128"/>
                        </a:rPr>
                        <a:t>H29</a:t>
                      </a:r>
                      <a:endParaRPr kumimoji="1" lang="ja-JP" altLang="en-US" sz="105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extLst>
                  <a:ext uri="{0D108BD9-81ED-4DB2-BD59-A6C34878D82A}">
                    <a16:rowId xmlns:a16="http://schemas.microsoft.com/office/drawing/2014/main" val="10001"/>
                  </a:ext>
                </a:extLst>
              </a:tr>
              <a:tr h="238929">
                <a:tc>
                  <a:txBody>
                    <a:bodyPr/>
                    <a:lstStyle/>
                    <a:p>
                      <a:r>
                        <a:rPr kumimoji="1" lang="ja-JP" altLang="en-US" sz="1050">
                          <a:solidFill>
                            <a:schemeClr val="tx1"/>
                          </a:solidFill>
                          <a:latin typeface="Meiryo UI" panose="020B0604030504040204" pitchFamily="50" charset="-128"/>
                          <a:ea typeface="Meiryo UI" panose="020B0604030504040204" pitchFamily="50" charset="-128"/>
                        </a:rPr>
                        <a:t>内閣府 「未来技術社会実装事業」</a:t>
                      </a: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i="0" u="none">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2"/>
                  </a:ext>
                </a:extLst>
              </a:tr>
              <a:tr h="238929">
                <a:tc>
                  <a:txBody>
                    <a:bodyPr/>
                    <a:lstStyle/>
                    <a:p>
                      <a:r>
                        <a:rPr kumimoji="1" lang="ja-JP" altLang="en-US" sz="1050">
                          <a:solidFill>
                            <a:schemeClr val="tx1"/>
                          </a:solidFill>
                          <a:latin typeface="Meiryo UI" panose="020B0604030504040204" pitchFamily="50" charset="-128"/>
                          <a:ea typeface="Meiryo UI" panose="020B0604030504040204" pitchFamily="50" charset="-128"/>
                        </a:rPr>
                        <a:t>総務省 「地域社会</a:t>
                      </a:r>
                      <a:r>
                        <a:rPr kumimoji="1" lang="en-US" altLang="ja-JP" sz="1050">
                          <a:solidFill>
                            <a:schemeClr val="tx1"/>
                          </a:solidFill>
                          <a:latin typeface="Meiryo UI" panose="020B0604030504040204" pitchFamily="50" charset="-128"/>
                          <a:ea typeface="Meiryo UI" panose="020B0604030504040204" pitchFamily="50" charset="-128"/>
                        </a:rPr>
                        <a:t>DX</a:t>
                      </a:r>
                      <a:r>
                        <a:rPr kumimoji="1" lang="ja-JP" altLang="en-US" sz="1050">
                          <a:solidFill>
                            <a:schemeClr val="tx1"/>
                          </a:solidFill>
                          <a:latin typeface="Meiryo UI" panose="020B0604030504040204" pitchFamily="50" charset="-128"/>
                          <a:ea typeface="Meiryo UI" panose="020B0604030504040204" pitchFamily="50" charset="-128"/>
                        </a:rPr>
                        <a:t>推進パッケージ事業」（補助事業）</a:t>
                      </a: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１</a:t>
                      </a: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238929">
                <a:tc>
                  <a:txBody>
                    <a:bodyPr/>
                    <a:lstStyle/>
                    <a:p>
                      <a:r>
                        <a:rPr kumimoji="1" lang="ja-JP" altLang="en-US" sz="1050">
                          <a:solidFill>
                            <a:schemeClr val="tx1"/>
                          </a:solidFill>
                          <a:latin typeface="Meiryo UI" panose="020B0604030504040204" pitchFamily="50" charset="-128"/>
                          <a:ea typeface="Meiryo UI" panose="020B0604030504040204" pitchFamily="50" charset="-128"/>
                        </a:rPr>
                        <a:t>国土交通省 「スマートシティ実装化支援事業」</a:t>
                      </a: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２</a:t>
                      </a: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3818094682"/>
                  </a:ext>
                </a:extLst>
              </a:tr>
              <a:tr h="273600">
                <a:tc>
                  <a:txBody>
                    <a:bodyPr/>
                    <a:lstStyle/>
                    <a:p>
                      <a:r>
                        <a:rPr kumimoji="1" lang="ja-JP" altLang="en-US" sz="1050">
                          <a:solidFill>
                            <a:schemeClr val="tx1"/>
                          </a:solidFill>
                          <a:latin typeface="Meiryo UI" panose="020B0604030504040204" pitchFamily="50" charset="-128"/>
                          <a:ea typeface="Meiryo UI" panose="020B0604030504040204" pitchFamily="50" charset="-128"/>
                        </a:rPr>
                        <a:t>経済産業省 「</a:t>
                      </a:r>
                      <a:r>
                        <a:rPr kumimoji="1" lang="zh-TW" altLang="en-US" sz="1050">
                          <a:solidFill>
                            <a:schemeClr val="tx1"/>
                          </a:solidFill>
                          <a:latin typeface="Meiryo UI" panose="020B0604030504040204" pitchFamily="50" charset="-128"/>
                          <a:ea typeface="Meiryo UI" panose="020B0604030504040204" pitchFamily="50" charset="-128"/>
                        </a:rPr>
                        <a:t>地域新</a:t>
                      </a:r>
                      <a:r>
                        <a:rPr kumimoji="1" lang="en-US" altLang="zh-TW" sz="1050" err="1">
                          <a:solidFill>
                            <a:schemeClr val="tx1"/>
                          </a:solidFill>
                          <a:latin typeface="Meiryo UI" panose="020B0604030504040204" pitchFamily="50" charset="-128"/>
                          <a:ea typeface="Meiryo UI" panose="020B0604030504040204" pitchFamily="50" charset="-128"/>
                        </a:rPr>
                        <a:t>MaaS</a:t>
                      </a:r>
                      <a:r>
                        <a:rPr kumimoji="1" lang="zh-TW" altLang="en-US" sz="1050">
                          <a:solidFill>
                            <a:schemeClr val="tx1"/>
                          </a:solidFill>
                          <a:latin typeface="Meiryo UI" panose="020B0604030504040204" pitchFamily="50" charset="-128"/>
                          <a:ea typeface="Meiryo UI" panose="020B0604030504040204" pitchFamily="50" charset="-128"/>
                        </a:rPr>
                        <a:t>創出推進事業</a:t>
                      </a:r>
                      <a:r>
                        <a:rPr kumimoji="1" lang="ja-JP" altLang="en-US" sz="1050">
                          <a:solidFill>
                            <a:schemeClr val="tx1"/>
                          </a:solidFill>
                          <a:latin typeface="Meiryo UI" panose="020B0604030504040204" pitchFamily="50" charset="-128"/>
                          <a:ea typeface="Meiryo UI" panose="020B0604030504040204" pitchFamily="50" charset="-128"/>
                        </a:rPr>
                        <a:t>」</a:t>
                      </a: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4"/>
                  </a:ext>
                </a:extLst>
              </a:tr>
              <a:tr h="238929">
                <a:tc>
                  <a:txBody>
                    <a:bodyPr/>
                    <a:lstStyle/>
                    <a:p>
                      <a:r>
                        <a:rPr kumimoji="1" lang="ja-JP" altLang="en-US" sz="1050">
                          <a:solidFill>
                            <a:schemeClr val="tx1"/>
                          </a:solidFill>
                          <a:latin typeface="Meiryo UI" panose="020B0604030504040204" pitchFamily="50" charset="-128"/>
                          <a:ea typeface="Meiryo UI" panose="020B0604030504040204" pitchFamily="50" charset="-128"/>
                        </a:rPr>
                        <a:t>国土交通省 「日本版</a:t>
                      </a:r>
                      <a:r>
                        <a:rPr kumimoji="1" lang="en-US" altLang="ja-JP" sz="1050" err="1">
                          <a:solidFill>
                            <a:schemeClr val="tx1"/>
                          </a:solidFill>
                          <a:latin typeface="Meiryo UI" panose="020B0604030504040204" pitchFamily="50" charset="-128"/>
                          <a:ea typeface="Meiryo UI" panose="020B0604030504040204" pitchFamily="50" charset="-128"/>
                        </a:rPr>
                        <a:t>MaaS</a:t>
                      </a:r>
                      <a:r>
                        <a:rPr kumimoji="1" lang="ja-JP" altLang="en-US" sz="1050">
                          <a:solidFill>
                            <a:schemeClr val="tx1"/>
                          </a:solidFill>
                          <a:latin typeface="Meiryo UI" panose="020B0604030504040204" pitchFamily="50" charset="-128"/>
                          <a:ea typeface="Meiryo UI" panose="020B0604030504040204" pitchFamily="50" charset="-128"/>
                        </a:rPr>
                        <a:t>推進・支援事業」※３</a:t>
                      </a:r>
                      <a:endParaRPr kumimoji="1" lang="en-US" altLang="ja-JP" sz="105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pPr algn="ctr"/>
                      <a:endParaRPr kumimoji="1" lang="ja-JP" altLang="en-US" sz="100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0829974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３））</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現状把握・将来構想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71</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３）実装に向けたロードマップと今年度事業の位置づけ</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2" name="正方形/長方形 11">
            <a:extLst>
              <a:ext uri="{FF2B5EF4-FFF2-40B4-BE49-F238E27FC236}">
                <a16:creationId xmlns:a16="http://schemas.microsoft.com/office/drawing/2014/main" id="{1EE04BF0-0F99-47B4-BAA3-BCD04FA4F45A}"/>
              </a:ext>
            </a:extLst>
          </p:cNvPr>
          <p:cNvSpPr/>
          <p:nvPr/>
        </p:nvSpPr>
        <p:spPr>
          <a:xfrm>
            <a:off x="190939" y="1212958"/>
            <a:ext cx="8762062" cy="5312386"/>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実装に向けたロードマップを示し、今年度事業の位置づけ（今年度は何を目的に進めるのか）を簡潔に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今年度の実証後、実証や実装時の予算をどのように確保するかが分かる記載として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政府の補助事業・委託事業を何年度まで使うか、自治体で予算を確保する・補助金を活用する、黒字化を達成し支援なしで運営可能とする等）</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なお、自動運転の実装時期等、将来見通しがつきづらいものも、官民</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ITS</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構想・ロードマップ等、国が策定しているロードマップを参考にしつつ、地域の実情として実現可能な実装時期を設定して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31</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33</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0</a:t>
            </a:r>
          </a:p>
        </p:txBody>
      </p:sp>
      <p:sp>
        <p:nvSpPr>
          <p:cNvPr id="14" name="正方形/長方形 3">
            <a:extLst>
              <a:ext uri="{FF2B5EF4-FFF2-40B4-BE49-F238E27FC236}">
                <a16:creationId xmlns:a16="http://schemas.microsoft.com/office/drawing/2014/main" id="{0C8F7798-B76C-4C96-8BCB-4C45BD7B33C2}"/>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6236035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４））</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現状把握・将来構想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72</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4" name="正方形/長方形 3">
            <a:extLst>
              <a:ext uri="{FF2B5EF4-FFF2-40B4-BE49-F238E27FC236}">
                <a16:creationId xmlns:a16="http://schemas.microsoft.com/office/drawing/2014/main" id="{0C8F7798-B76C-4C96-8BCB-4C45BD7B33C2}"/>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
        <p:nvSpPr>
          <p:cNvPr id="2" name="正方形/長方形 1">
            <a:extLst>
              <a:ext uri="{FF2B5EF4-FFF2-40B4-BE49-F238E27FC236}">
                <a16:creationId xmlns:a16="http://schemas.microsoft.com/office/drawing/2014/main" id="{44C150FD-A2BB-C0AA-83A2-494389F103DA}"/>
              </a:ext>
            </a:extLst>
          </p:cNvPr>
          <p:cNvSpPr/>
          <p:nvPr/>
        </p:nvSpPr>
        <p:spPr>
          <a:xfrm>
            <a:off x="190939" y="982549"/>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４）取組の新規性</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3" name="正方形/長方形 2">
            <a:extLst>
              <a:ext uri="{FF2B5EF4-FFF2-40B4-BE49-F238E27FC236}">
                <a16:creationId xmlns:a16="http://schemas.microsoft.com/office/drawing/2014/main" id="{CE0C45AD-3E76-E4BC-D89D-63EB1DA99073}"/>
              </a:ext>
            </a:extLst>
          </p:cNvPr>
          <p:cNvSpPr/>
          <p:nvPr/>
        </p:nvSpPr>
        <p:spPr>
          <a:xfrm>
            <a:off x="190939" y="1260598"/>
            <a:ext cx="8762062" cy="5336753"/>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当該地域のこれまでの取組や、他地域における類似事例を参照し、提案内容の新規性を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　また、参照結果を提案内容においてどのように反映しているかご記載ください。</a:t>
            </a:r>
            <a:b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b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　　（過去の取組、類似事例が無い場合はその旨をご記載ください）</a:t>
            </a:r>
            <a:endParaRPr kumimoji="1" lang="ja-JP"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9</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10</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23</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24</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40097390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今年度実証内容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73</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１）今年度実証内容の概要・検証項目・検証手法 （</a:t>
            </a:r>
            <a:r>
              <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rPr>
              <a:t>2</a:t>
            </a: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ページ以内）</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今年度の実証内容を図や画像も用いて自由に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　 その際、</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 </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検証項目とその検証手法を分かりやすく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41</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4</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p:txBody>
      </p:sp>
      <p:sp>
        <p:nvSpPr>
          <p:cNvPr id="12" name="正方形/長方形 3">
            <a:extLst>
              <a:ext uri="{FF2B5EF4-FFF2-40B4-BE49-F238E27FC236}">
                <a16:creationId xmlns:a16="http://schemas.microsoft.com/office/drawing/2014/main" id="{60F806F0-99EC-4DFA-AB24-AFB004B3DF1A}"/>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9050868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今年度実証内容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74</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１）今年度実証内容の概要・検証項目・検証手法 （</a:t>
            </a:r>
            <a:r>
              <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rPr>
              <a:t>2</a:t>
            </a: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ページ以内）</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今年度の実証内容を図や画像も用いて自由に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　 その際、</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 </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検証項目とその検証手法を分かりやすく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41</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4</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p:txBody>
      </p:sp>
      <p:sp>
        <p:nvSpPr>
          <p:cNvPr id="12" name="正方形/長方形 3">
            <a:extLst>
              <a:ext uri="{FF2B5EF4-FFF2-40B4-BE49-F238E27FC236}">
                <a16:creationId xmlns:a16="http://schemas.microsoft.com/office/drawing/2014/main" id="{60376FE5-45FC-430A-B8B1-3B548B43E535}"/>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9699293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２））</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今年度実証内容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75</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9"/>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２）達成度の評価方法</a:t>
            </a:r>
            <a:endParaRPr kumimoji="1" lang="ja-JP" altLang="en-US" sz="1200" b="0"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19749"/>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１）で示した検証項目について、具体的な</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KPI</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を設定するとともに評価方法を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35</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1</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4</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1" name="正方形/長方形 3">
            <a:extLst>
              <a:ext uri="{FF2B5EF4-FFF2-40B4-BE49-F238E27FC236}">
                <a16:creationId xmlns:a16="http://schemas.microsoft.com/office/drawing/2014/main" id="{9B839645-7440-4CB8-9265-2F469D3322A1}"/>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1389264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8"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３））</a:t>
            </a:r>
          </a:p>
        </p:txBody>
      </p:sp>
      <p:sp>
        <p:nvSpPr>
          <p:cNvPr id="1950"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958" name="Rectangle 7"/>
          <p:cNvSpPr>
            <a:spLocks noChangeArrowheads="1"/>
          </p:cNvSpPr>
          <p:nvPr/>
        </p:nvSpPr>
        <p:spPr>
          <a:xfrm>
            <a:off x="735065" y="1556524"/>
            <a:ext cx="9144000" cy="457200"/>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6" name="正方形/長方形 1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76</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 name="Text Box 4">
            <a:extLst>
              <a:ext uri="{FF2B5EF4-FFF2-40B4-BE49-F238E27FC236}">
                <a16:creationId xmlns:a16="http://schemas.microsoft.com/office/drawing/2014/main" id="{649D9C4D-5FB2-42CC-BB60-DFA0D8B80F70}"/>
              </a:ext>
            </a:extLst>
          </p:cNvPr>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今年度実証内容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18" name="正方形/長方形 17">
            <a:extLst>
              <a:ext uri="{FF2B5EF4-FFF2-40B4-BE49-F238E27FC236}">
                <a16:creationId xmlns:a16="http://schemas.microsoft.com/office/drawing/2014/main" id="{76FBC24F-E002-482F-B9A5-C137F80A542B}"/>
              </a:ext>
            </a:extLst>
          </p:cNvPr>
          <p:cNvSpPr/>
          <p:nvPr/>
        </p:nvSpPr>
        <p:spPr>
          <a:xfrm>
            <a:off x="190939" y="936000"/>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３）実証スケジュール</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21" name="正方形/長方形 20">
            <a:extLst>
              <a:ext uri="{FF2B5EF4-FFF2-40B4-BE49-F238E27FC236}">
                <a16:creationId xmlns:a16="http://schemas.microsoft.com/office/drawing/2014/main" id="{4929DCE1-BEC4-4ED5-844B-8B987DC871ED}"/>
              </a:ext>
            </a:extLst>
          </p:cNvPr>
          <p:cNvSpPr/>
          <p:nvPr/>
        </p:nvSpPr>
        <p:spPr>
          <a:xfrm>
            <a:off x="190939" y="1220842"/>
            <a:ext cx="8762062" cy="5444786"/>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スケジュールの詳細を表形式（様式自由）で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スケジュールは月単位（もしくは週単位）の粒度で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以下の項目は必ず盛り込んで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628650" marR="0" lvl="1"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実証計画を修正する時期（実証開始前にスマートモビリティチャレンジの有識者委員会がアドバイスを行う）</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628650" marR="0" lvl="1"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実証実験の時期</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628650" marR="0" lvl="1"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本事業に関して会議体が用意されている場合は）会議体の開催時期</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41</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4</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628650" marR="0" lvl="1"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p:txBody>
      </p:sp>
      <p:graphicFrame>
        <p:nvGraphicFramePr>
          <p:cNvPr id="10" name="表 1">
            <a:extLst>
              <a:ext uri="{FF2B5EF4-FFF2-40B4-BE49-F238E27FC236}">
                <a16:creationId xmlns:a16="http://schemas.microsoft.com/office/drawing/2014/main" id="{DE0C4340-4AF8-436F-B5C4-5BBF90771AFB}"/>
              </a:ext>
            </a:extLst>
          </p:cNvPr>
          <p:cNvGraphicFramePr>
            <a:graphicFrameLocks noGrp="1"/>
          </p:cNvGraphicFramePr>
          <p:nvPr/>
        </p:nvGraphicFramePr>
        <p:xfrm>
          <a:off x="264312" y="3571629"/>
          <a:ext cx="8615378" cy="2952112"/>
        </p:xfrm>
        <a:graphic>
          <a:graphicData uri="http://schemas.openxmlformats.org/drawingml/2006/table">
            <a:tbl>
              <a:tblPr firstRow="1" firstCol="1" bandRow="1">
                <a:tableStyleId>{5C22544A-7EE6-4342-B048-85BDC9FD1C3A}</a:tableStyleId>
              </a:tblPr>
              <a:tblGrid>
                <a:gridCol w="2951129">
                  <a:extLst>
                    <a:ext uri="{9D8B030D-6E8A-4147-A177-3AD203B41FA5}">
                      <a16:colId xmlns:a16="http://schemas.microsoft.com/office/drawing/2014/main" val="20000"/>
                    </a:ext>
                  </a:extLst>
                </a:gridCol>
                <a:gridCol w="471657">
                  <a:extLst>
                    <a:ext uri="{9D8B030D-6E8A-4147-A177-3AD203B41FA5}">
                      <a16:colId xmlns:a16="http://schemas.microsoft.com/office/drawing/2014/main" val="20001"/>
                    </a:ext>
                  </a:extLst>
                </a:gridCol>
                <a:gridCol w="471657">
                  <a:extLst>
                    <a:ext uri="{9D8B030D-6E8A-4147-A177-3AD203B41FA5}">
                      <a16:colId xmlns:a16="http://schemas.microsoft.com/office/drawing/2014/main" val="20002"/>
                    </a:ext>
                  </a:extLst>
                </a:gridCol>
                <a:gridCol w="471657">
                  <a:extLst>
                    <a:ext uri="{9D8B030D-6E8A-4147-A177-3AD203B41FA5}">
                      <a16:colId xmlns:a16="http://schemas.microsoft.com/office/drawing/2014/main" val="20003"/>
                    </a:ext>
                  </a:extLst>
                </a:gridCol>
                <a:gridCol w="471657">
                  <a:extLst>
                    <a:ext uri="{9D8B030D-6E8A-4147-A177-3AD203B41FA5}">
                      <a16:colId xmlns:a16="http://schemas.microsoft.com/office/drawing/2014/main" val="20004"/>
                    </a:ext>
                  </a:extLst>
                </a:gridCol>
                <a:gridCol w="472530">
                  <a:extLst>
                    <a:ext uri="{9D8B030D-6E8A-4147-A177-3AD203B41FA5}">
                      <a16:colId xmlns:a16="http://schemas.microsoft.com/office/drawing/2014/main" val="20005"/>
                    </a:ext>
                  </a:extLst>
                </a:gridCol>
                <a:gridCol w="472530">
                  <a:extLst>
                    <a:ext uri="{9D8B030D-6E8A-4147-A177-3AD203B41FA5}">
                      <a16:colId xmlns:a16="http://schemas.microsoft.com/office/drawing/2014/main" val="20006"/>
                    </a:ext>
                  </a:extLst>
                </a:gridCol>
                <a:gridCol w="471657">
                  <a:extLst>
                    <a:ext uri="{9D8B030D-6E8A-4147-A177-3AD203B41FA5}">
                      <a16:colId xmlns:a16="http://schemas.microsoft.com/office/drawing/2014/main" val="20007"/>
                    </a:ext>
                  </a:extLst>
                </a:gridCol>
                <a:gridCol w="471657">
                  <a:extLst>
                    <a:ext uri="{9D8B030D-6E8A-4147-A177-3AD203B41FA5}">
                      <a16:colId xmlns:a16="http://schemas.microsoft.com/office/drawing/2014/main" val="20008"/>
                    </a:ext>
                  </a:extLst>
                </a:gridCol>
                <a:gridCol w="471657">
                  <a:extLst>
                    <a:ext uri="{9D8B030D-6E8A-4147-A177-3AD203B41FA5}">
                      <a16:colId xmlns:a16="http://schemas.microsoft.com/office/drawing/2014/main" val="20009"/>
                    </a:ext>
                  </a:extLst>
                </a:gridCol>
                <a:gridCol w="472530">
                  <a:extLst>
                    <a:ext uri="{9D8B030D-6E8A-4147-A177-3AD203B41FA5}">
                      <a16:colId xmlns:a16="http://schemas.microsoft.com/office/drawing/2014/main" val="20010"/>
                    </a:ext>
                  </a:extLst>
                </a:gridCol>
                <a:gridCol w="472530">
                  <a:extLst>
                    <a:ext uri="{9D8B030D-6E8A-4147-A177-3AD203B41FA5}">
                      <a16:colId xmlns:a16="http://schemas.microsoft.com/office/drawing/2014/main" val="20011"/>
                    </a:ext>
                  </a:extLst>
                </a:gridCol>
                <a:gridCol w="472530">
                  <a:extLst>
                    <a:ext uri="{9D8B030D-6E8A-4147-A177-3AD203B41FA5}">
                      <a16:colId xmlns:a16="http://schemas.microsoft.com/office/drawing/2014/main" val="2080965218"/>
                    </a:ext>
                  </a:extLst>
                </a:gridCol>
              </a:tblGrid>
              <a:tr h="228345">
                <a:tc rowSpan="2">
                  <a:txBody>
                    <a:bodyPr/>
                    <a:lstStyle/>
                    <a:p>
                      <a:pPr algn="ctr">
                        <a:lnSpc>
                          <a:spcPts val="1810"/>
                        </a:lnSpc>
                        <a:spcAft>
                          <a:spcPts val="0"/>
                        </a:spcAft>
                      </a:pPr>
                      <a:r>
                        <a:rPr lang="ja-JP" sz="1200" b="1" kern="100">
                          <a:solidFill>
                            <a:schemeClr val="tx1"/>
                          </a:solidFill>
                          <a:effectLst/>
                        </a:rPr>
                        <a:t>実施項目</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gridSpan="12">
                  <a:txBody>
                    <a:bodyPr/>
                    <a:lstStyle/>
                    <a:p>
                      <a:pPr algn="ctr">
                        <a:lnSpc>
                          <a:spcPts val="1810"/>
                        </a:lnSpc>
                        <a:spcAft>
                          <a:spcPts val="0"/>
                        </a:spcAft>
                      </a:pPr>
                      <a:r>
                        <a:rPr lang="ja-JP" sz="1200" b="0" kern="100">
                          <a:solidFill>
                            <a:schemeClr val="tx1"/>
                          </a:solidFill>
                          <a:effectLst/>
                        </a:rPr>
                        <a:t>令和</a:t>
                      </a:r>
                      <a:r>
                        <a:rPr lang="en-US" altLang="ja-JP" sz="1200" b="0" kern="100">
                          <a:solidFill>
                            <a:schemeClr val="tx1"/>
                          </a:solidFill>
                          <a:effectLst/>
                        </a:rPr>
                        <a:t>7</a:t>
                      </a:r>
                      <a:r>
                        <a:rPr lang="ja-JP" sz="1200" b="0" kern="100">
                          <a:solidFill>
                            <a:schemeClr val="tx1"/>
                          </a:solidFill>
                          <a:effectLst/>
                        </a:rPr>
                        <a:t>年度</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235542">
                <a:tc vMerge="1">
                  <a:txBody>
                    <a:bodyPr/>
                    <a:lstStyle/>
                    <a:p>
                      <a:endParaRPr kumimoji="1" lang="ja-JP" altLang="en-US"/>
                    </a:p>
                  </a:txBody>
                  <a:tcPr/>
                </a:tc>
                <a:tc>
                  <a:txBody>
                    <a:bodyPr/>
                    <a:lstStyle/>
                    <a:p>
                      <a:pPr algn="ctr">
                        <a:lnSpc>
                          <a:spcPts val="1810"/>
                        </a:lnSpc>
                        <a:spcAft>
                          <a:spcPts val="0"/>
                        </a:spcAft>
                      </a:pPr>
                      <a:r>
                        <a:rPr lang="en-US" sz="1200" b="0" kern="100">
                          <a:solidFill>
                            <a:schemeClr val="tx1"/>
                          </a:solidFill>
                          <a:effectLst/>
                        </a:rPr>
                        <a:t>4</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5</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6</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7</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8</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9</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10</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11</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12</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1</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a:solidFill>
                            <a:schemeClr val="tx1"/>
                          </a:solidFill>
                          <a:effectLst/>
                        </a:rPr>
                        <a:t>2</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alt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rPr>
                        <a:t>3</a:t>
                      </a:r>
                      <a:r>
                        <a:rPr lang="ja-JP" altLang="en-US"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235542">
                <a:tc>
                  <a:txBody>
                    <a:bodyPr/>
                    <a:lstStyle/>
                    <a:p>
                      <a:pPr algn="just">
                        <a:lnSpc>
                          <a:spcPts val="1810"/>
                        </a:lnSpc>
                        <a:spcAft>
                          <a:spcPts val="0"/>
                        </a:spcAft>
                      </a:pPr>
                      <a:r>
                        <a:rPr lang="ja-JP" sz="1200" b="1" kern="100">
                          <a:solidFill>
                            <a:schemeClr val="tx1"/>
                          </a:solidFill>
                          <a:effectLst/>
                        </a:rPr>
                        <a:t>１．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228345">
                <a:tc>
                  <a:txBody>
                    <a:bodyPr/>
                    <a:lstStyle/>
                    <a:p>
                      <a:pPr algn="just">
                        <a:lnSpc>
                          <a:spcPts val="1810"/>
                        </a:lnSpc>
                        <a:spcAft>
                          <a:spcPts val="0"/>
                        </a:spcAft>
                      </a:pPr>
                      <a:r>
                        <a:rPr lang="ja-JP" altLang="en-US" sz="1200" b="1" kern="100">
                          <a:solidFill>
                            <a:schemeClr val="tx1"/>
                          </a:solidFill>
                          <a:effectLst/>
                        </a:rPr>
                        <a:t>　（１）〇</a:t>
                      </a:r>
                      <a:r>
                        <a:rPr lang="ja-JP" sz="1200" b="1" kern="100">
                          <a:solidFill>
                            <a:schemeClr val="tx1"/>
                          </a:solidFill>
                          <a:effectLst/>
                        </a:rPr>
                        <a:t>〇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228345">
                <a:tc>
                  <a:txBody>
                    <a:bodyPr/>
                    <a:lstStyle/>
                    <a:p>
                      <a:pPr algn="just">
                        <a:lnSpc>
                          <a:spcPts val="1810"/>
                        </a:lnSpc>
                        <a:spcAft>
                          <a:spcPts val="0"/>
                        </a:spcAft>
                      </a:pPr>
                      <a:r>
                        <a:rPr lang="ja-JP" altLang="en-US" sz="1200" b="1" kern="100">
                          <a:solidFill>
                            <a:schemeClr val="tx1"/>
                          </a:solidFill>
                          <a:effectLst/>
                        </a:rPr>
                        <a:t>　（２）</a:t>
                      </a:r>
                      <a:r>
                        <a:rPr lang="ja-JP" sz="1200" b="1" kern="100">
                          <a:solidFill>
                            <a:schemeClr val="tx1"/>
                          </a:solidFill>
                          <a:effectLst/>
                        </a:rPr>
                        <a:t>〇〇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268909">
                <a:tc>
                  <a:txBody>
                    <a:bodyPr/>
                    <a:lstStyle/>
                    <a:p>
                      <a:pPr algn="just">
                        <a:lnSpc>
                          <a:spcPts val="1810"/>
                        </a:lnSpc>
                        <a:spcAft>
                          <a:spcPts val="0"/>
                        </a:spcAft>
                      </a:pPr>
                      <a:r>
                        <a:rPr lang="ja-JP" altLang="en-US" sz="1200" b="1" kern="100">
                          <a:solidFill>
                            <a:schemeClr val="tx1"/>
                          </a:solidFill>
                          <a:effectLst/>
                        </a:rPr>
                        <a:t>　（３）</a:t>
                      </a:r>
                      <a:r>
                        <a:rPr lang="ja-JP" sz="1200" b="1" kern="100">
                          <a:solidFill>
                            <a:schemeClr val="tx1"/>
                          </a:solidFill>
                          <a:effectLst/>
                        </a:rPr>
                        <a:t>〇〇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225728">
                <a:tc>
                  <a:txBody>
                    <a:bodyPr/>
                    <a:lstStyle/>
                    <a:p>
                      <a:pPr algn="just">
                        <a:lnSpc>
                          <a:spcPts val="1810"/>
                        </a:lnSpc>
                        <a:spcAft>
                          <a:spcPts val="0"/>
                        </a:spcAft>
                      </a:pPr>
                      <a:r>
                        <a:rPr lang="ja-JP" sz="1200" b="1" kern="100">
                          <a:solidFill>
                            <a:schemeClr val="tx1"/>
                          </a:solidFill>
                          <a:effectLst/>
                        </a:rPr>
                        <a:t>２．〇〇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238159">
                <a:tc>
                  <a:txBody>
                    <a:bodyPr/>
                    <a:lstStyle/>
                    <a:p>
                      <a:pPr algn="just">
                        <a:lnSpc>
                          <a:spcPts val="1810"/>
                        </a:lnSpc>
                        <a:spcAft>
                          <a:spcPts val="0"/>
                        </a:spcAft>
                      </a:pPr>
                      <a:r>
                        <a:rPr lang="ja-JP" altLang="en-US" sz="1200" b="1" kern="100">
                          <a:solidFill>
                            <a:schemeClr val="tx1"/>
                          </a:solidFill>
                          <a:effectLst/>
                        </a:rPr>
                        <a:t>　（１）</a:t>
                      </a:r>
                      <a:r>
                        <a:rPr lang="ja-JP" sz="1200" b="1" kern="100">
                          <a:solidFill>
                            <a:schemeClr val="tx1"/>
                          </a:solidFill>
                          <a:effectLst/>
                        </a:rPr>
                        <a:t>〇〇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250591">
                <a:tc>
                  <a:txBody>
                    <a:bodyPr/>
                    <a:lstStyle/>
                    <a:p>
                      <a:pPr algn="just">
                        <a:lnSpc>
                          <a:spcPts val="1810"/>
                        </a:lnSpc>
                        <a:spcAft>
                          <a:spcPts val="0"/>
                        </a:spcAft>
                      </a:pPr>
                      <a:r>
                        <a:rPr lang="ja-JP" altLang="en-US" sz="1200" b="1" kern="100">
                          <a:solidFill>
                            <a:schemeClr val="tx1"/>
                          </a:solidFill>
                          <a:effectLst/>
                        </a:rPr>
                        <a:t>　（２）</a:t>
                      </a:r>
                      <a:r>
                        <a:rPr lang="ja-JP" sz="1200" b="1" kern="100">
                          <a:solidFill>
                            <a:schemeClr val="tx1"/>
                          </a:solidFill>
                          <a:effectLst/>
                        </a:rPr>
                        <a:t>〇〇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221790">
                <a:tc>
                  <a:txBody>
                    <a:bodyPr/>
                    <a:lstStyle/>
                    <a:p>
                      <a:pPr algn="just">
                        <a:lnSpc>
                          <a:spcPts val="1810"/>
                        </a:lnSpc>
                        <a:spcAft>
                          <a:spcPts val="0"/>
                        </a:spcAft>
                      </a:pPr>
                      <a:r>
                        <a:rPr lang="ja-JP" sz="1200" b="1" kern="100">
                          <a:solidFill>
                            <a:schemeClr val="tx1"/>
                          </a:solidFill>
                          <a:effectLst/>
                        </a:rPr>
                        <a:t>３．〇〇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245355">
                <a:tc>
                  <a:txBody>
                    <a:bodyPr/>
                    <a:lstStyle/>
                    <a:p>
                      <a:pPr algn="just">
                        <a:lnSpc>
                          <a:spcPts val="1810"/>
                        </a:lnSpc>
                        <a:spcAft>
                          <a:spcPts val="0"/>
                        </a:spcAft>
                      </a:pPr>
                      <a:r>
                        <a:rPr lang="ja-JP" altLang="en-US" sz="1200" b="1" kern="100">
                          <a:solidFill>
                            <a:schemeClr val="tx1"/>
                          </a:solidFill>
                          <a:effectLst/>
                        </a:rPr>
                        <a:t>　（１）</a:t>
                      </a:r>
                      <a:r>
                        <a:rPr lang="ja-JP" sz="1200" b="1" kern="100">
                          <a:solidFill>
                            <a:schemeClr val="tx1"/>
                          </a:solidFill>
                          <a:effectLst/>
                        </a:rPr>
                        <a:t>〇〇〇〇〇〇〇</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345461">
                <a:tc>
                  <a:txBody>
                    <a:bodyPr/>
                    <a:lstStyle/>
                    <a:p>
                      <a:pPr algn="just">
                        <a:lnSpc>
                          <a:spcPts val="1810"/>
                        </a:lnSpc>
                        <a:spcAft>
                          <a:spcPts val="0"/>
                        </a:spcAft>
                      </a:pPr>
                      <a:r>
                        <a:rPr lang="ja-JP" sz="1200" b="1" kern="100">
                          <a:solidFill>
                            <a:schemeClr val="tx1"/>
                          </a:solidFill>
                          <a:effectLst/>
                        </a:rPr>
                        <a:t>○○会議</a:t>
                      </a:r>
                      <a:r>
                        <a:rPr lang="ja-JP" altLang="en-US" sz="1200" b="1" kern="100">
                          <a:solidFill>
                            <a:schemeClr val="tx1"/>
                          </a:solidFill>
                          <a:effectLst/>
                        </a:rPr>
                        <a:t>開催</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r>
                        <a:rPr lang="ja-JP" altLang="en-US" sz="1200" b="0" kern="100">
                          <a:solidFill>
                            <a:schemeClr val="tx1"/>
                          </a:solidFill>
                          <a:effectLst/>
                        </a:rPr>
                        <a:t>●</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ja-JP" altLang="en-US" sz="1200" b="1" kern="100">
                          <a:solidFill>
                            <a:schemeClr val="tx1"/>
                          </a:solidFill>
                          <a:effectLst/>
                        </a:rPr>
                        <a:t>●</a:t>
                      </a:r>
                      <a:endParaRPr lang="ja-JP" sz="1200" b="1"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ja-JP" altLang="en-US" sz="1200" b="1" kern="100">
                          <a:solidFill>
                            <a:schemeClr val="tx1"/>
                          </a:solidFill>
                          <a:effectLst/>
                        </a:rPr>
                        <a:t>●</a:t>
                      </a: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bl>
          </a:graphicData>
        </a:graphic>
      </p:graphicFrame>
      <p:sp>
        <p:nvSpPr>
          <p:cNvPr id="11" name="直線コネクタ 39">
            <a:extLst>
              <a:ext uri="{FF2B5EF4-FFF2-40B4-BE49-F238E27FC236}">
                <a16:creationId xmlns:a16="http://schemas.microsoft.com/office/drawing/2014/main" id="{7999F7AD-B94C-426B-AFC2-94D30CAF1CFE}"/>
              </a:ext>
            </a:extLst>
          </p:cNvPr>
          <p:cNvSpPr>
            <a:spLocks noChangeShapeType="1"/>
          </p:cNvSpPr>
          <p:nvPr/>
        </p:nvSpPr>
        <p:spPr>
          <a:xfrm>
            <a:off x="5087273" y="4617788"/>
            <a:ext cx="924887"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 name="直線コネクタ 38">
            <a:extLst>
              <a:ext uri="{FF2B5EF4-FFF2-40B4-BE49-F238E27FC236}">
                <a16:creationId xmlns:a16="http://schemas.microsoft.com/office/drawing/2014/main" id="{C53B11E3-F36F-4475-A479-F3E9533A523D}"/>
              </a:ext>
            </a:extLst>
          </p:cNvPr>
          <p:cNvSpPr>
            <a:spLocks noChangeShapeType="1"/>
          </p:cNvSpPr>
          <p:nvPr/>
        </p:nvSpPr>
        <p:spPr>
          <a:xfrm>
            <a:off x="7020272" y="5589896"/>
            <a:ext cx="1368152"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 name="直線コネクタ 37">
            <a:extLst>
              <a:ext uri="{FF2B5EF4-FFF2-40B4-BE49-F238E27FC236}">
                <a16:creationId xmlns:a16="http://schemas.microsoft.com/office/drawing/2014/main" id="{D4609440-E1DF-444F-B868-D35754854847}"/>
              </a:ext>
            </a:extLst>
          </p:cNvPr>
          <p:cNvSpPr>
            <a:spLocks noChangeShapeType="1"/>
          </p:cNvSpPr>
          <p:nvPr/>
        </p:nvSpPr>
        <p:spPr>
          <a:xfrm>
            <a:off x="5580112" y="4869816"/>
            <a:ext cx="1696207"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 name="直線コネクタ 36">
            <a:extLst>
              <a:ext uri="{FF2B5EF4-FFF2-40B4-BE49-F238E27FC236}">
                <a16:creationId xmlns:a16="http://schemas.microsoft.com/office/drawing/2014/main" id="{3FA7CD2C-9942-48D2-BECC-4732A97D1B36}"/>
              </a:ext>
            </a:extLst>
          </p:cNvPr>
          <p:cNvSpPr>
            <a:spLocks noChangeShapeType="1"/>
          </p:cNvSpPr>
          <p:nvPr/>
        </p:nvSpPr>
        <p:spPr>
          <a:xfrm>
            <a:off x="4644009" y="4365760"/>
            <a:ext cx="432048"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5" name="直線コネクタ 35">
            <a:extLst>
              <a:ext uri="{FF2B5EF4-FFF2-40B4-BE49-F238E27FC236}">
                <a16:creationId xmlns:a16="http://schemas.microsoft.com/office/drawing/2014/main" id="{036374F4-3073-46C4-BECC-BA7125E9AD7B}"/>
              </a:ext>
            </a:extLst>
          </p:cNvPr>
          <p:cNvSpPr>
            <a:spLocks noChangeShapeType="1"/>
          </p:cNvSpPr>
          <p:nvPr/>
        </p:nvSpPr>
        <p:spPr>
          <a:xfrm>
            <a:off x="5580112" y="6066520"/>
            <a:ext cx="1872207"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 name="直線コネクタ 34">
            <a:extLst>
              <a:ext uri="{FF2B5EF4-FFF2-40B4-BE49-F238E27FC236}">
                <a16:creationId xmlns:a16="http://schemas.microsoft.com/office/drawing/2014/main" id="{C233BB91-33F3-4B5F-8993-6B74A193547C}"/>
              </a:ext>
            </a:extLst>
          </p:cNvPr>
          <p:cNvSpPr>
            <a:spLocks noChangeShapeType="1"/>
          </p:cNvSpPr>
          <p:nvPr/>
        </p:nvSpPr>
        <p:spPr>
          <a:xfrm>
            <a:off x="6531957" y="5346440"/>
            <a:ext cx="1856467"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2" name="正方形/長方形 3">
            <a:extLst>
              <a:ext uri="{FF2B5EF4-FFF2-40B4-BE49-F238E27FC236}">
                <a16:creationId xmlns:a16="http://schemas.microsoft.com/office/drawing/2014/main" id="{6B27021C-EF6F-41A2-B788-FCB18BC9CD28}"/>
              </a:ext>
            </a:extLst>
          </p:cNvPr>
          <p:cNvSpPr/>
          <p:nvPr/>
        </p:nvSpPr>
        <p:spPr>
          <a:xfrm>
            <a:off x="323528" y="3286579"/>
            <a:ext cx="1584176"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ケジュールの例</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endPar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p:txBody>
      </p:sp>
      <p:sp>
        <p:nvSpPr>
          <p:cNvPr id="19" name="正方形/長方形 3">
            <a:extLst>
              <a:ext uri="{FF2B5EF4-FFF2-40B4-BE49-F238E27FC236}">
                <a16:creationId xmlns:a16="http://schemas.microsoft.com/office/drawing/2014/main" id="{5893569B-876A-4AE9-8D0B-6776E223F4FD}"/>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7371914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４））</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今年度実証内容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altLang="ja-JP" sz="1480" dirty="0">
                <a:solidFill>
                  <a:srgbClr val="000000"/>
                </a:solidFill>
                <a:latin typeface="Arial"/>
                <a:ea typeface="ＭＳ Ｐゴシック"/>
              </a:rPr>
              <a:t>77</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6000"/>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４）実施体制の整備</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20842"/>
            <a:ext cx="8762062" cy="5520526"/>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体制図（様式自由）をご記載ください。また、以下の主体には指定の印・文言を付記して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代表してプロジェクト運営を行う（採択後の実証実験内容の調整に関する会議や中間報告等を主導する）主体</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sym typeface="Wingdings" panose="05000000000000000000" pitchFamily="2" charset="2"/>
              </a:rPr>
              <a:t>：（★）</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経済産業省・経済産業局・事務局コンソーシアムとの会議に参加する主体：（●）</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参画が確定していない（呼びかけ中など未定の）主体：</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sym typeface="Wingdings" panose="05000000000000000000" pitchFamily="2" charset="2"/>
              </a:rPr>
              <a:t>（調整中</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25</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30</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0</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4</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p:txBody>
      </p:sp>
      <p:sp>
        <p:nvSpPr>
          <p:cNvPr id="19" name="Rectangle 13">
            <a:extLst>
              <a:ext uri="{FF2B5EF4-FFF2-40B4-BE49-F238E27FC236}">
                <a16:creationId xmlns:a16="http://schemas.microsoft.com/office/drawing/2014/main" id="{05EA2F08-B601-45AF-8E9A-DA297A245613}"/>
              </a:ext>
            </a:extLst>
          </p:cNvPr>
          <p:cNvSpPr>
            <a:spLocks noChangeArrowheads="1"/>
          </p:cNvSpPr>
          <p:nvPr/>
        </p:nvSpPr>
        <p:spPr bwMode="blackWhite">
          <a:xfrm>
            <a:off x="2754255" y="4730598"/>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a:t>
            </a:r>
            <a:endParaRPr kumimoji="1" lang="en-US" altLang="ja-JP"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endParaRPr>
          </a:p>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a:t>
            </a:r>
          </a:p>
        </p:txBody>
      </p:sp>
      <p:sp>
        <p:nvSpPr>
          <p:cNvPr id="20" name="Rectangle 13">
            <a:extLst>
              <a:ext uri="{FF2B5EF4-FFF2-40B4-BE49-F238E27FC236}">
                <a16:creationId xmlns:a16="http://schemas.microsoft.com/office/drawing/2014/main" id="{0D4772E1-FFD2-4A2C-BC68-8863C039C2C4}"/>
              </a:ext>
            </a:extLst>
          </p:cNvPr>
          <p:cNvSpPr>
            <a:spLocks noChangeArrowheads="1"/>
          </p:cNvSpPr>
          <p:nvPr/>
        </p:nvSpPr>
        <p:spPr bwMode="blackWhite">
          <a:xfrm>
            <a:off x="5276841" y="4730599"/>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a:t>
            </a:r>
            <a:endParaRPr kumimoji="1" lang="en-US" altLang="ja-JP"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endParaRPr>
          </a:p>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調整中）</a:t>
            </a:r>
          </a:p>
        </p:txBody>
      </p:sp>
      <p:sp>
        <p:nvSpPr>
          <p:cNvPr id="21" name="Rectangle 13">
            <a:extLst>
              <a:ext uri="{FF2B5EF4-FFF2-40B4-BE49-F238E27FC236}">
                <a16:creationId xmlns:a16="http://schemas.microsoft.com/office/drawing/2014/main" id="{AC736210-4CD8-42F3-9EC4-50CBD3F218D5}"/>
              </a:ext>
            </a:extLst>
          </p:cNvPr>
          <p:cNvSpPr>
            <a:spLocks noChangeArrowheads="1"/>
          </p:cNvSpPr>
          <p:nvPr/>
        </p:nvSpPr>
        <p:spPr bwMode="blackWhite">
          <a:xfrm>
            <a:off x="4015548" y="318517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株式会社</a:t>
            </a:r>
          </a:p>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a:t>
            </a:r>
          </a:p>
        </p:txBody>
      </p:sp>
      <p:sp>
        <p:nvSpPr>
          <p:cNvPr id="22" name="Rectangle 13">
            <a:extLst>
              <a:ext uri="{FF2B5EF4-FFF2-40B4-BE49-F238E27FC236}">
                <a16:creationId xmlns:a16="http://schemas.microsoft.com/office/drawing/2014/main" id="{27CD2487-3130-4E31-90C5-80ACD209049A}"/>
              </a:ext>
            </a:extLst>
          </p:cNvPr>
          <p:cNvSpPr>
            <a:spLocks noChangeArrowheads="1"/>
          </p:cNvSpPr>
          <p:nvPr/>
        </p:nvSpPr>
        <p:spPr bwMode="blackWhite">
          <a:xfrm>
            <a:off x="4015548" y="4730598"/>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a:t>
            </a:r>
            <a:br>
              <a:rPr kumimoji="1" lang="en-US" altLang="ja-JP"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b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a:t>
            </a:r>
          </a:p>
        </p:txBody>
      </p:sp>
      <p:cxnSp>
        <p:nvCxnSpPr>
          <p:cNvPr id="24" name="カギ線コネクタ 28">
            <a:extLst>
              <a:ext uri="{FF2B5EF4-FFF2-40B4-BE49-F238E27FC236}">
                <a16:creationId xmlns:a16="http://schemas.microsoft.com/office/drawing/2014/main" id="{D9EA8DA4-920B-411E-921C-311112055B34}"/>
              </a:ext>
            </a:extLst>
          </p:cNvPr>
          <p:cNvCxnSpPr>
            <a:cxnSpLocks/>
            <a:stCxn id="21" idx="2"/>
            <a:endCxn id="19" idx="0"/>
          </p:cNvCxnSpPr>
          <p:nvPr/>
        </p:nvCxnSpPr>
        <p:spPr>
          <a:xfrm rot="5400000">
            <a:off x="3474784" y="3633379"/>
            <a:ext cx="933144" cy="1261293"/>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カギ線コネクタ 29">
            <a:extLst>
              <a:ext uri="{FF2B5EF4-FFF2-40B4-BE49-F238E27FC236}">
                <a16:creationId xmlns:a16="http://schemas.microsoft.com/office/drawing/2014/main" id="{B24F7C06-A71A-4B92-A799-8075719CFB33}"/>
              </a:ext>
            </a:extLst>
          </p:cNvPr>
          <p:cNvCxnSpPr>
            <a:cxnSpLocks/>
            <a:stCxn id="21" idx="2"/>
            <a:endCxn id="20" idx="0"/>
          </p:cNvCxnSpPr>
          <p:nvPr/>
        </p:nvCxnSpPr>
        <p:spPr>
          <a:xfrm rot="16200000" flipH="1">
            <a:off x="4736075" y="3633381"/>
            <a:ext cx="933146" cy="1261293"/>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8A2DCEB6-5FFE-424A-899F-760E5544B264}"/>
              </a:ext>
            </a:extLst>
          </p:cNvPr>
          <p:cNvCxnSpPr>
            <a:cxnSpLocks/>
            <a:stCxn id="21" idx="2"/>
            <a:endCxn id="22" idx="0"/>
          </p:cNvCxnSpPr>
          <p:nvPr/>
        </p:nvCxnSpPr>
        <p:spPr>
          <a:xfrm>
            <a:off x="4572002" y="3797454"/>
            <a:ext cx="0" cy="933144"/>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Rectangle 13">
            <a:extLst>
              <a:ext uri="{FF2B5EF4-FFF2-40B4-BE49-F238E27FC236}">
                <a16:creationId xmlns:a16="http://schemas.microsoft.com/office/drawing/2014/main" id="{94E6E645-6FCD-4E93-9E16-F14D9E9D72E7}"/>
              </a:ext>
            </a:extLst>
          </p:cNvPr>
          <p:cNvSpPr>
            <a:spLocks noChangeArrowheads="1"/>
          </p:cNvSpPr>
          <p:nvPr/>
        </p:nvSpPr>
        <p:spPr bwMode="blackWhite">
          <a:xfrm>
            <a:off x="6068712" y="318517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a:t>
            </a:r>
          </a:p>
        </p:txBody>
      </p:sp>
      <p:sp>
        <p:nvSpPr>
          <p:cNvPr id="47" name="Rectangle 13">
            <a:extLst>
              <a:ext uri="{FF2B5EF4-FFF2-40B4-BE49-F238E27FC236}">
                <a16:creationId xmlns:a16="http://schemas.microsoft.com/office/drawing/2014/main" id="{DD038D2E-C41A-4F08-A579-C2E1126E6DA8}"/>
              </a:ext>
            </a:extLst>
          </p:cNvPr>
          <p:cNvSpPr>
            <a:spLocks noChangeArrowheads="1"/>
          </p:cNvSpPr>
          <p:nvPr/>
        </p:nvSpPr>
        <p:spPr bwMode="blackWhite">
          <a:xfrm>
            <a:off x="1962383" y="318517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市</a:t>
            </a:r>
          </a:p>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a:ln>
                  <a:noFill/>
                </a:ln>
                <a:solidFill>
                  <a:srgbClr val="000000"/>
                </a:solidFill>
                <a:effectLst/>
                <a:uLnTx/>
                <a:uFillTx/>
                <a:latin typeface="ＭＳ Ｐゴシック"/>
                <a:ea typeface="ＭＳ Ｐゴシック"/>
                <a:cs typeface="Arial" pitchFamily="34" charset="0"/>
              </a:rPr>
              <a:t>（●）</a:t>
            </a:r>
          </a:p>
        </p:txBody>
      </p:sp>
      <p:cxnSp>
        <p:nvCxnSpPr>
          <p:cNvPr id="7" name="直線コネクタ 6">
            <a:extLst>
              <a:ext uri="{FF2B5EF4-FFF2-40B4-BE49-F238E27FC236}">
                <a16:creationId xmlns:a16="http://schemas.microsoft.com/office/drawing/2014/main" id="{89A912DF-6B1B-4B54-AF2E-32F4A19C7FFF}"/>
              </a:ext>
            </a:extLst>
          </p:cNvPr>
          <p:cNvCxnSpPr>
            <a:cxnSpLocks/>
            <a:endCxn id="30" idx="1"/>
          </p:cNvCxnSpPr>
          <p:nvPr/>
        </p:nvCxnSpPr>
        <p:spPr>
          <a:xfrm>
            <a:off x="5128455" y="3491311"/>
            <a:ext cx="940257" cy="2"/>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A0BA5EC0-DDC9-466F-825C-BB033C28FC07}"/>
              </a:ext>
            </a:extLst>
          </p:cNvPr>
          <p:cNvCxnSpPr>
            <a:cxnSpLocks/>
            <a:stCxn id="47" idx="3"/>
            <a:endCxn id="21" idx="1"/>
          </p:cNvCxnSpPr>
          <p:nvPr/>
        </p:nvCxnSpPr>
        <p:spPr>
          <a:xfrm>
            <a:off x="3075289" y="3491313"/>
            <a:ext cx="940259"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正方形/長方形 3">
            <a:extLst>
              <a:ext uri="{FF2B5EF4-FFF2-40B4-BE49-F238E27FC236}">
                <a16:creationId xmlns:a16="http://schemas.microsoft.com/office/drawing/2014/main" id="{1653DCA9-FD29-4BD6-BAEC-BB71E0A29ABB}"/>
              </a:ext>
            </a:extLst>
          </p:cNvPr>
          <p:cNvSpPr/>
          <p:nvPr/>
        </p:nvSpPr>
        <p:spPr>
          <a:xfrm>
            <a:off x="1962383" y="2622509"/>
            <a:ext cx="1304385"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体制図の例</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endPar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p:txBody>
      </p:sp>
      <p:sp>
        <p:nvSpPr>
          <p:cNvPr id="27" name="正方形/長方形 3">
            <a:extLst>
              <a:ext uri="{FF2B5EF4-FFF2-40B4-BE49-F238E27FC236}">
                <a16:creationId xmlns:a16="http://schemas.microsoft.com/office/drawing/2014/main" id="{D0F14F95-91BB-4CB5-80F3-D60E15289762}"/>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4623179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４））</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今年度実証内容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78</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6000"/>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４）実施体制の整備</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20842"/>
            <a:ext cx="8762062" cy="5520526"/>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参加主体の役割を表形式（様式自由）で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　前頁と同様に、以下の主体には指定の印・文言を付記して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代表してプロジェクト運営を行う（採択後の実証実験内容の調整に関する会議や中間報告等を主導する）主体</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sym typeface="Wingdings" panose="05000000000000000000" pitchFamily="2" charset="2"/>
              </a:rPr>
              <a:t>：（★）</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経済産業省・経済産業局・事務局コンソーシアムとの会議に参加する主体：（●）</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参画が確定していない（呼びかけ中など未定の）主体：</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sym typeface="Wingdings" panose="05000000000000000000" pitchFamily="2" charset="2"/>
              </a:rPr>
              <a:t>（調整中</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25</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30</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0</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4</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p:txBody>
      </p:sp>
      <p:sp>
        <p:nvSpPr>
          <p:cNvPr id="27" name="正方形/長方形 3">
            <a:extLst>
              <a:ext uri="{FF2B5EF4-FFF2-40B4-BE49-F238E27FC236}">
                <a16:creationId xmlns:a16="http://schemas.microsoft.com/office/drawing/2014/main" id="{D0F14F95-91BB-4CB5-80F3-D60E15289762}"/>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graphicFrame>
        <p:nvGraphicFramePr>
          <p:cNvPr id="2" name="表 2">
            <a:extLst>
              <a:ext uri="{FF2B5EF4-FFF2-40B4-BE49-F238E27FC236}">
                <a16:creationId xmlns:a16="http://schemas.microsoft.com/office/drawing/2014/main" id="{AA98417A-CB37-34E2-DA86-4D896358DB43}"/>
              </a:ext>
            </a:extLst>
          </p:cNvPr>
          <p:cNvGraphicFramePr>
            <a:graphicFrameLocks noGrp="1"/>
          </p:cNvGraphicFramePr>
          <p:nvPr/>
        </p:nvGraphicFramePr>
        <p:xfrm>
          <a:off x="434998" y="3140968"/>
          <a:ext cx="8274004" cy="3263577"/>
        </p:xfrm>
        <a:graphic>
          <a:graphicData uri="http://schemas.openxmlformats.org/drawingml/2006/table">
            <a:tbl>
              <a:tblPr firstRow="1" bandRow="1">
                <a:tableStyleId>{5C22544A-7EE6-4342-B048-85BDC9FD1C3A}</a:tableStyleId>
              </a:tblPr>
              <a:tblGrid>
                <a:gridCol w="3018651">
                  <a:extLst>
                    <a:ext uri="{9D8B030D-6E8A-4147-A177-3AD203B41FA5}">
                      <a16:colId xmlns:a16="http://schemas.microsoft.com/office/drawing/2014/main" val="2943966248"/>
                    </a:ext>
                  </a:extLst>
                </a:gridCol>
                <a:gridCol w="5255353">
                  <a:extLst>
                    <a:ext uri="{9D8B030D-6E8A-4147-A177-3AD203B41FA5}">
                      <a16:colId xmlns:a16="http://schemas.microsoft.com/office/drawing/2014/main" val="857641231"/>
                    </a:ext>
                  </a:extLst>
                </a:gridCol>
              </a:tblGrid>
              <a:tr h="281369">
                <a:tc>
                  <a:txBody>
                    <a:bodyPr/>
                    <a:lstStyle/>
                    <a:p>
                      <a:pPr algn="ctr"/>
                      <a:r>
                        <a:rPr kumimoji="1" lang="ja-JP" altLang="en-US" sz="1200">
                          <a:solidFill>
                            <a:schemeClr val="tx1"/>
                          </a:solidFill>
                        </a:rPr>
                        <a:t>参加主体</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a:solidFill>
                            <a:schemeClr val="tx1"/>
                          </a:solidFill>
                        </a:rPr>
                        <a:t>役割</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7689933"/>
                  </a:ext>
                </a:extLst>
              </a:tr>
              <a:tr h="422713">
                <a:tc>
                  <a:txBody>
                    <a:bodyPr/>
                    <a:lstStyle/>
                    <a:p>
                      <a:pPr algn="l" defTabSz="955675">
                        <a:buClr>
                          <a:schemeClr val="bg2"/>
                        </a:buClr>
                        <a:buSzPct val="100000"/>
                      </a:pPr>
                      <a:r>
                        <a:rPr lang="ja-JP" altLang="en-US" sz="1200">
                          <a:latin typeface="+mn-ea"/>
                          <a:ea typeface="+mn-ea"/>
                          <a:cs typeface="Arial" pitchFamily="34" charset="0"/>
                        </a:rPr>
                        <a:t>○○株式会社　（★・●）</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a:t>構想や計画作りを主導。取組から得られるデータの分析、○○への適用を担う</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97371665"/>
                  </a:ext>
                </a:extLst>
              </a:tr>
              <a:tr h="422713">
                <a:tc>
                  <a:txBody>
                    <a:bodyPr/>
                    <a:lstStyle/>
                    <a:p>
                      <a:pPr algn="l" defTabSz="955675">
                        <a:buClr>
                          <a:schemeClr val="bg2"/>
                        </a:buClr>
                        <a:buSzPct val="100000"/>
                      </a:pPr>
                      <a:r>
                        <a:rPr lang="ja-JP" altLang="en-US" sz="1200">
                          <a:latin typeface="+mn-ea"/>
                          <a:ea typeface="+mn-ea"/>
                          <a:cs typeface="Arial" pitchFamily="34" charset="0"/>
                        </a:rPr>
                        <a:t>○○市　（●）</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a:t>構想や計画作りに参加。実装時の事業主体となる。</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85769315"/>
                  </a:ext>
                </a:extLst>
              </a:tr>
              <a:tr h="4227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a:latin typeface="+mn-ea"/>
                          <a:ea typeface="+mn-ea"/>
                          <a:cs typeface="Arial" pitchFamily="34" charset="0"/>
                        </a:rPr>
                        <a:t>✕✕（調整中）</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a:t>車両の提供および運行を担う</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81964431"/>
                  </a:ext>
                </a:extLst>
              </a:tr>
              <a:tr h="422713">
                <a:tc>
                  <a:txBody>
                    <a:bodyPr/>
                    <a:lstStyle/>
                    <a:p>
                      <a:r>
                        <a:rPr lang="ja-JP" altLang="en-US" sz="1200">
                          <a:latin typeface="+mn-ea"/>
                          <a:ea typeface="+mn-ea"/>
                          <a:cs typeface="Arial" pitchFamily="34" charset="0"/>
                        </a:rPr>
                        <a:t>○△✕</a:t>
                      </a:r>
                      <a:endParaRPr kumimoji="1" lang="ja-JP" altLang="en-US" sz="120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a:t>○○システムの提供</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66069205"/>
                  </a:ext>
                </a:extLst>
              </a:tr>
              <a:tr h="422713">
                <a:tc>
                  <a:txBody>
                    <a:bodyPr/>
                    <a:lstStyle/>
                    <a:p>
                      <a:endParaRPr kumimoji="1" lang="ja-JP" altLang="en-US" sz="120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85937715"/>
                  </a:ext>
                </a:extLst>
              </a:tr>
              <a:tr h="422713">
                <a:tc>
                  <a:txBody>
                    <a:bodyPr/>
                    <a:lstStyle/>
                    <a:p>
                      <a:endParaRPr kumimoji="1" lang="ja-JP" altLang="en-US" sz="120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38782544"/>
                  </a:ext>
                </a:extLst>
              </a:tr>
              <a:tr h="422713">
                <a:tc>
                  <a:txBody>
                    <a:bodyPr/>
                    <a:lstStyle/>
                    <a:p>
                      <a:endParaRPr kumimoji="1" lang="ja-JP" altLang="en-US" sz="120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37571630"/>
                  </a:ext>
                </a:extLst>
              </a:tr>
            </a:tbl>
          </a:graphicData>
        </a:graphic>
      </p:graphicFrame>
      <p:sp>
        <p:nvSpPr>
          <p:cNvPr id="3" name="正方形/長方形 3">
            <a:extLst>
              <a:ext uri="{FF2B5EF4-FFF2-40B4-BE49-F238E27FC236}">
                <a16:creationId xmlns:a16="http://schemas.microsoft.com/office/drawing/2014/main" id="{063B3035-151B-D79A-C6E7-3EEB7EACD211}"/>
              </a:ext>
            </a:extLst>
          </p:cNvPr>
          <p:cNvSpPr/>
          <p:nvPr/>
        </p:nvSpPr>
        <p:spPr>
          <a:xfrm>
            <a:off x="434998" y="2780928"/>
            <a:ext cx="2664296"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参加主体の役割の記載例</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endPar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341957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５）（６））</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今年度実証内容の具体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79</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6000"/>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５）自治体の協力</a:t>
            </a:r>
            <a:endParaRPr kumimoji="1" lang="ja-JP" altLang="en-US" sz="1200" b="0"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3" name="正方形/長方形 12">
            <a:extLst>
              <a:ext uri="{FF2B5EF4-FFF2-40B4-BE49-F238E27FC236}">
                <a16:creationId xmlns:a16="http://schemas.microsoft.com/office/drawing/2014/main" id="{72E94A20-80E1-4619-AB44-53B461009AAA}"/>
              </a:ext>
            </a:extLst>
          </p:cNvPr>
          <p:cNvSpPr/>
          <p:nvPr/>
        </p:nvSpPr>
        <p:spPr>
          <a:xfrm>
            <a:off x="190939" y="3897416"/>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６）利用者ニーズの反映</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4" name="正方形/長方形 13">
            <a:extLst>
              <a:ext uri="{FF2B5EF4-FFF2-40B4-BE49-F238E27FC236}">
                <a16:creationId xmlns:a16="http://schemas.microsoft.com/office/drawing/2014/main" id="{478254C6-EF80-47A7-AFAC-09D0CEDD5F6E}"/>
              </a:ext>
            </a:extLst>
          </p:cNvPr>
          <p:cNvSpPr/>
          <p:nvPr/>
        </p:nvSpPr>
        <p:spPr>
          <a:xfrm>
            <a:off x="190939" y="4182258"/>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実証の実施にあたり、受益者の意見やニーズを聴取していれば、その聴取手法・内容を記載し、実証内容にどのように反映させているか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　 未聴取の場合は、今後どのように聴取していくかを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45</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50</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28142"/>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rPr>
              <a:t> </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実証を行う、あるいは実装を目指す地域の自治体との協力状況を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　  また、提案内容と自治体の方針・計画等が整合している場合はその点も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スマートモビリティの創り方～みんなのガイドブック～」参考ページ：</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P25</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30</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0</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a:t>
            </a: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44</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5" name="正方形/長方形 3">
            <a:extLst>
              <a:ext uri="{FF2B5EF4-FFF2-40B4-BE49-F238E27FC236}">
                <a16:creationId xmlns:a16="http://schemas.microsoft.com/office/drawing/2014/main" id="{623FA921-0EB4-4B7A-8C84-0519F0C630FB}"/>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4364107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C-</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２））</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4267013"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C.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事業目的や期待する成果との整合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80</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3612921"/>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２）具体的に目指す成果 （２ページ以内）</a:t>
            </a: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3897764"/>
            <a:ext cx="8762062" cy="266330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本事業の目的や期待する成果を加味したうえで、どのような点で成果を生むことが出来るか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p:txBody>
      </p:sp>
      <p:sp>
        <p:nvSpPr>
          <p:cNvPr id="15" name="正方形/長方形 3">
            <a:extLst>
              <a:ext uri="{FF2B5EF4-FFF2-40B4-BE49-F238E27FC236}">
                <a16:creationId xmlns:a16="http://schemas.microsoft.com/office/drawing/2014/main" id="{D07C33D0-C512-4456-AED9-0510DDBB5BD7}"/>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graphicFrame>
        <p:nvGraphicFramePr>
          <p:cNvPr id="2" name="表 2">
            <a:extLst>
              <a:ext uri="{FF2B5EF4-FFF2-40B4-BE49-F238E27FC236}">
                <a16:creationId xmlns:a16="http://schemas.microsoft.com/office/drawing/2014/main" id="{B7F956B1-19A8-683A-2EDD-8422D603ECF8}"/>
              </a:ext>
            </a:extLst>
          </p:cNvPr>
          <p:cNvGraphicFramePr>
            <a:graphicFrameLocks noGrp="1"/>
          </p:cNvGraphicFramePr>
          <p:nvPr/>
        </p:nvGraphicFramePr>
        <p:xfrm>
          <a:off x="187769" y="1172986"/>
          <a:ext cx="8762062" cy="2394540"/>
        </p:xfrm>
        <a:graphic>
          <a:graphicData uri="http://schemas.openxmlformats.org/drawingml/2006/table">
            <a:tbl>
              <a:tblPr firstRow="1" bandRow="1">
                <a:tableStyleId>{5C22544A-7EE6-4342-B048-85BDC9FD1C3A}</a:tableStyleId>
              </a:tblPr>
              <a:tblGrid>
                <a:gridCol w="7912623">
                  <a:extLst>
                    <a:ext uri="{9D8B030D-6E8A-4147-A177-3AD203B41FA5}">
                      <a16:colId xmlns:a16="http://schemas.microsoft.com/office/drawing/2014/main" val="2855529242"/>
                    </a:ext>
                  </a:extLst>
                </a:gridCol>
                <a:gridCol w="849439">
                  <a:extLst>
                    <a:ext uri="{9D8B030D-6E8A-4147-A177-3AD203B41FA5}">
                      <a16:colId xmlns:a16="http://schemas.microsoft.com/office/drawing/2014/main" val="2545219505"/>
                    </a:ext>
                  </a:extLst>
                </a:gridCol>
              </a:tblGrid>
              <a:tr h="245220">
                <a:tc>
                  <a:txBody>
                    <a:bodyPr/>
                    <a:lstStyle/>
                    <a:p>
                      <a:pPr algn="ctr"/>
                      <a:r>
                        <a:rPr kumimoji="1" lang="ja-JP" altLang="en-US" sz="1200" b="1" kern="100">
                          <a:solidFill>
                            <a:schemeClr val="bg1"/>
                          </a:solidFill>
                          <a:effectLst/>
                          <a:latin typeface="+mn-ea"/>
                          <a:ea typeface="+mn-ea"/>
                          <a:cs typeface="+mn-cs"/>
                        </a:rPr>
                        <a:t>（１）期待する成果との整合性</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333399"/>
                    </a:solidFill>
                  </a:tcPr>
                </a:tc>
                <a:tc>
                  <a:txBody>
                    <a:bodyPr/>
                    <a:lstStyle/>
                    <a:p>
                      <a:pPr algn="ctr"/>
                      <a:r>
                        <a:rPr kumimoji="1" lang="ja-JP" altLang="en-US" sz="1200" b="1" kern="100">
                          <a:solidFill>
                            <a:schemeClr val="bg1"/>
                          </a:solidFill>
                          <a:effectLst/>
                          <a:latin typeface="+mn-ea"/>
                          <a:ea typeface="+mn-ea"/>
                          <a:cs typeface="+mn-cs"/>
                        </a:rPr>
                        <a:t>該当有無</a:t>
                      </a:r>
                    </a:p>
                  </a:txBody>
                  <a:tcP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333399"/>
                    </a:solidFill>
                  </a:tcPr>
                </a:tc>
                <a:extLst>
                  <a:ext uri="{0D108BD9-81ED-4DB2-BD59-A6C34878D82A}">
                    <a16:rowId xmlns:a16="http://schemas.microsoft.com/office/drawing/2014/main" val="2477320264"/>
                  </a:ext>
                </a:extLst>
              </a:tr>
              <a:tr h="364076">
                <a:tc>
                  <a:txBody>
                    <a:bodyPr/>
                    <a:lstStyle/>
                    <a:p>
                      <a:pPr marL="0" lvl="0" indent="0" algn="just">
                        <a:buFont typeface="+mj-ea"/>
                        <a:buNone/>
                      </a:pPr>
                      <a:r>
                        <a:rPr lang="ja-JP" altLang="en-US" sz="1050" b="1" kern="100">
                          <a:effectLst/>
                          <a:latin typeface="Century" panose="02040604050505020304" pitchFamily="18" charset="0"/>
                          <a:ea typeface="ＭＳ ゴシック" panose="020B0609070205080204" pitchFamily="49" charset="-128"/>
                          <a:cs typeface="Times New Roman" panose="02020603050405020304" pitchFamily="18" charset="0"/>
                        </a:rPr>
                        <a:t>①</a:t>
                      </a:r>
                      <a:r>
                        <a:rPr lang="ja-JP" altLang="ja-JP" sz="1050" b="1" kern="100">
                          <a:effectLst/>
                          <a:latin typeface="Century" panose="02040604050505020304" pitchFamily="18" charset="0"/>
                          <a:ea typeface="ＭＳ ゴシック" panose="020B0609070205080204" pitchFamily="49" charset="-128"/>
                          <a:cs typeface="Times New Roman" panose="02020603050405020304" pitchFamily="18" charset="0"/>
                        </a:rPr>
                        <a:t>完成車メーカー、部品メーカー、ディーラーなどの自動車関連事業者が新たなビジネス機会を主体的に創出する取組を実証し、想定される効果や乗り越えるべき課題などを検証すること</a:t>
                      </a:r>
                      <a:endParaRPr lang="ja-JP" altLang="ja-JP" sz="1050" b="1"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b="0">
                        <a:solidFill>
                          <a:schemeClr val="tx1"/>
                        </a:solidFill>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94583098"/>
                  </a:ext>
                </a:extLst>
              </a:tr>
              <a:tr h="513933">
                <a:tc>
                  <a:txBody>
                    <a:bodyPr/>
                    <a:lstStyle/>
                    <a:p>
                      <a:pPr marL="0" lvl="0" indent="0" algn="just">
                        <a:buFont typeface="+mj-ea"/>
                        <a:buNone/>
                      </a:pPr>
                      <a:r>
                        <a:rPr lang="ja-JP" altLang="en-US" sz="1050" b="1" kern="100">
                          <a:effectLst/>
                          <a:latin typeface="Century" panose="02040604050505020304" pitchFamily="18" charset="0"/>
                          <a:ea typeface="ＭＳ ゴシック" panose="020B0609070205080204" pitchFamily="49" charset="-128"/>
                          <a:cs typeface="Times New Roman" panose="02020603050405020304" pitchFamily="18" charset="0"/>
                        </a:rPr>
                        <a:t>②</a:t>
                      </a:r>
                      <a:r>
                        <a:rPr lang="ja-JP" altLang="ja-JP" sz="1050" b="1" kern="100">
                          <a:effectLst/>
                          <a:latin typeface="Century" panose="02040604050505020304" pitchFamily="18" charset="0"/>
                          <a:ea typeface="ＭＳ ゴシック" panose="020B0609070205080204" pitchFamily="49" charset="-128"/>
                          <a:cs typeface="Times New Roman" panose="02020603050405020304" pitchFamily="18" charset="0"/>
                        </a:rPr>
                        <a:t>他の交通・異業種サービスと連携した新たなモビリティサービスのビジネスモデル実証を行い、サービスの受容性（そのサービスは利用者に受容されるか）及び将来的な自動運転化の適否（事業性・技術・社会受容性といった多角的な観点で自動運転化が適しているのか、あるいは有人での運行が適しているのか）を検証すること</a:t>
                      </a:r>
                      <a:endParaRPr lang="ja-JP" altLang="ja-JP" sz="1050" b="1"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b="0">
                        <a:solidFill>
                          <a:schemeClr val="tx1"/>
                        </a:solidFill>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05468505"/>
                  </a:ext>
                </a:extLst>
              </a:tr>
              <a:tr h="364076">
                <a:tc>
                  <a:txBody>
                    <a:bodyPr/>
                    <a:lstStyle/>
                    <a:p>
                      <a:r>
                        <a:rPr kumimoji="1" lang="ja-JP" altLang="en-US" sz="1050" b="1" kern="100">
                          <a:solidFill>
                            <a:schemeClr val="tx1"/>
                          </a:solidFill>
                          <a:effectLst/>
                          <a:latin typeface="+mn-ea"/>
                          <a:ea typeface="+mn-ea"/>
                          <a:cs typeface="+mn-cs"/>
                        </a:rPr>
                        <a:t>③</a:t>
                      </a:r>
                      <a:r>
                        <a:rPr lang="ja-JP" altLang="ja-JP" sz="1050" b="1" kern="100">
                          <a:effectLst/>
                          <a:ea typeface="ＭＳ ゴシック" panose="020B0609070205080204" pitchFamily="49" charset="-128"/>
                          <a:cs typeface="Times New Roman" panose="02020603050405020304" pitchFamily="18" charset="0"/>
                        </a:rPr>
                        <a:t>法規制等の課題によりこれまで具体化が進んでこなかったサービス・ビジネスモデルを実証し、想定される効果や乗り越えるべき法規制上の課題などを整理すること</a:t>
                      </a:r>
                      <a:endParaRPr kumimoji="1" lang="ja-JP" altLang="en-US" sz="1050" b="1" kern="100">
                        <a:solidFill>
                          <a:schemeClr val="tx1"/>
                        </a:solidFill>
                        <a:effectLst/>
                        <a:latin typeface="+mn-ea"/>
                        <a:ea typeface="+mn-ea"/>
                        <a:cs typeface="+mn-cs"/>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b="0">
                        <a:solidFill>
                          <a:schemeClr val="tx1"/>
                        </a:solidFill>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82852718"/>
                  </a:ext>
                </a:extLst>
              </a:tr>
              <a:tr h="364076">
                <a:tc>
                  <a:txBody>
                    <a:bodyPr/>
                    <a:lstStyle/>
                    <a:p>
                      <a:pPr marL="0" lvl="0" indent="0" algn="l">
                        <a:buFont typeface="+mj-ea"/>
                        <a:buNone/>
                      </a:pPr>
                      <a:r>
                        <a:rPr lang="ja-JP" altLang="en-US" sz="1050" b="1" kern="100">
                          <a:effectLst/>
                          <a:latin typeface="Century" panose="02040604050505020304" pitchFamily="18" charset="0"/>
                          <a:ea typeface="ＭＳ ゴシック" panose="020B0609070205080204" pitchFamily="49" charset="-128"/>
                          <a:cs typeface="Times New Roman" panose="02020603050405020304" pitchFamily="18" charset="0"/>
                        </a:rPr>
                        <a:t>④</a:t>
                      </a:r>
                      <a:r>
                        <a:rPr lang="ja-JP" altLang="ja-JP" sz="1050" b="1" kern="100">
                          <a:effectLst/>
                          <a:latin typeface="Century" panose="02040604050505020304" pitchFamily="18" charset="0"/>
                          <a:ea typeface="ＭＳ ゴシック" panose="020B0609070205080204" pitchFamily="49" charset="-128"/>
                          <a:cs typeface="Times New Roman" panose="02020603050405020304" pitchFamily="18" charset="0"/>
                        </a:rPr>
                        <a:t>カープローブデータなどのモビリティデータを活用し、サービスの収支改善や新たな付加価値を創出するサービス・ビジネスモデルを創出し、想定される効果や乗り越えるべき課題などを検証すること</a:t>
                      </a:r>
                      <a:endParaRPr lang="ja-JP" altLang="ja-JP" sz="1050" b="1"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b="0">
                        <a:solidFill>
                          <a:schemeClr val="tx1"/>
                        </a:solidFill>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59212256"/>
                  </a:ext>
                </a:extLst>
              </a:tr>
              <a:tr h="364076">
                <a:tc>
                  <a:txBody>
                    <a:bodyPr/>
                    <a:lstStyle/>
                    <a:p>
                      <a:r>
                        <a:rPr kumimoji="1" lang="ja-JP" altLang="en-US" sz="1050" b="1" kern="100">
                          <a:solidFill>
                            <a:schemeClr val="tx1"/>
                          </a:solidFill>
                          <a:effectLst/>
                          <a:latin typeface="+mn-ea"/>
                          <a:ea typeface="+mn-ea"/>
                          <a:cs typeface="+mn-cs"/>
                        </a:rPr>
                        <a:t>⑤その他、募集要領「１</a:t>
                      </a:r>
                      <a:r>
                        <a:rPr kumimoji="1" lang="en-US" altLang="ja-JP" sz="1050" b="1" kern="100">
                          <a:solidFill>
                            <a:schemeClr val="tx1"/>
                          </a:solidFill>
                          <a:effectLst/>
                          <a:latin typeface="+mn-ea"/>
                          <a:ea typeface="+mn-ea"/>
                          <a:cs typeface="+mn-cs"/>
                        </a:rPr>
                        <a:t>-</a:t>
                      </a:r>
                      <a:r>
                        <a:rPr kumimoji="1" lang="ja-JP" altLang="en-US" sz="1050" b="1" kern="100">
                          <a:solidFill>
                            <a:schemeClr val="tx1"/>
                          </a:solidFill>
                          <a:effectLst/>
                          <a:latin typeface="+mn-ea"/>
                          <a:ea typeface="+mn-ea"/>
                          <a:cs typeface="+mn-cs"/>
                        </a:rPr>
                        <a:t>（２）目的」に記載の目的に沿った新たなサービス・ビジネスモデルを創出し、想定される効果や乗り越えるべき課題などを検証すること</a:t>
                      </a: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b="0">
                        <a:solidFill>
                          <a:schemeClr val="tx1"/>
                        </a:solidFill>
                      </a:endParaRPr>
                    </a:p>
                  </a:txBody>
                  <a:tcPr marT="36000" marB="36000">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3756473"/>
                  </a:ext>
                </a:extLst>
              </a:tr>
            </a:tbl>
          </a:graphicData>
        </a:graphic>
      </p:graphicFrame>
      <p:sp>
        <p:nvSpPr>
          <p:cNvPr id="3" name="Text Box 4">
            <a:extLst>
              <a:ext uri="{FF2B5EF4-FFF2-40B4-BE49-F238E27FC236}">
                <a16:creationId xmlns:a16="http://schemas.microsoft.com/office/drawing/2014/main" id="{40668390-2EF9-8239-9239-601BD60D0527}"/>
              </a:ext>
            </a:extLst>
          </p:cNvPr>
          <p:cNvSpPr txBox="1">
            <a:spLocks noChangeArrowheads="1"/>
          </p:cNvSpPr>
          <p:nvPr/>
        </p:nvSpPr>
        <p:spPr>
          <a:xfrm>
            <a:off x="187769" y="899579"/>
            <a:ext cx="8321757" cy="276999"/>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12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本事業で期待する成果として、該当する一つもしくは複数の項目を選択すること</a:t>
            </a:r>
            <a:endParaRPr kumimoji="1" lang="ja-JP" altLang="ja-JP" sz="12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9902853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2" name="Text Box 4"/>
          <p:cNvSpPr txBox="1">
            <a:spLocks noChangeArrowheads="1"/>
          </p:cNvSpPr>
          <p:nvPr/>
        </p:nvSpPr>
        <p:spPr>
          <a:xfrm>
            <a:off x="119980" y="1760349"/>
            <a:ext cx="2375818" cy="2135969"/>
          </a:xfrm>
          <a:prstGeom prst="rect">
            <a:avLst/>
          </a:prstGeom>
          <a:noFill/>
          <a:ln w="9525">
            <a:noFill/>
            <a:miter lim="800000"/>
            <a:headEnd/>
            <a:tailEnd/>
          </a:ln>
          <a:effectLst/>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対象区域の概要</a:t>
            </a:r>
            <a:endParaRPr kumimoji="1" lang="en-US" altLang="ja-JP" sz="16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名称、面積、人口等）</a:t>
            </a:r>
            <a:endParaRPr kumimoji="1" lang="en-US" altLang="ja-JP" sz="1600" b="0" i="1" u="none" strike="noStrike" kern="1200" cap="none" spc="0" normalizeH="0" baseline="0" noProof="0">
              <a:ln>
                <a:noFill/>
              </a:ln>
              <a:solidFill>
                <a:srgbClr val="FF0000"/>
              </a:solidFill>
              <a:effectLst/>
              <a:uLnTx/>
              <a:uFillTx/>
              <a:latin typeface="Tahoma" pitchFamily="34" charset="0"/>
              <a:ea typeface="ＭＳ Ｐゴシック" panose="020B0600070205080204" pitchFamily="50" charset="-128"/>
              <a:cs typeface="+mn-cs"/>
            </a:endParaRP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endParaRPr kumimoji="1" lang="en-US" altLang="ja-JP"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endParaRPr kumimoji="1" lang="en-US" altLang="ja-JP"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対象区域のビジョン</a:t>
            </a:r>
            <a:endParaRPr kumimoji="1" lang="en-US" altLang="ja-JP"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1600" b="0" i="1" u="none" strike="noStrike" kern="1200" cap="none" spc="0" normalizeH="0" baseline="0" noProof="0">
                <a:ln>
                  <a:noFill/>
                </a:ln>
                <a:solidFill>
                  <a:srgbClr val="FF0000"/>
                </a:solidFill>
                <a:effectLst/>
                <a:uLnTx/>
                <a:uFillTx/>
                <a:latin typeface="Tahoma" pitchFamily="34" charset="0"/>
                <a:ea typeface="ＭＳ Ｐゴシック" panose="020B0600070205080204" pitchFamily="50" charset="-128"/>
                <a:cs typeface="+mn-cs"/>
              </a:rPr>
              <a:t>（目指すべき地域の姿）</a:t>
            </a:r>
            <a:endParaRPr kumimoji="1" lang="en-US" altLang="ja-JP" sz="1600" b="0" i="1" u="none" strike="noStrike" kern="1200" cap="none" spc="0" normalizeH="0" baseline="0" noProof="0">
              <a:ln>
                <a:noFill/>
              </a:ln>
              <a:solidFill>
                <a:srgbClr val="FF0000"/>
              </a:solidFill>
              <a:effectLst/>
              <a:uLnTx/>
              <a:uFillTx/>
              <a:latin typeface="Tahoma"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5000"/>
              </a:spcBef>
              <a:spcAft>
                <a:spcPct val="0"/>
              </a:spcAft>
              <a:buClrTx/>
              <a:buSzTx/>
              <a:buFontTx/>
              <a:buNone/>
              <a:tabLst/>
              <a:defRPr/>
            </a:pPr>
            <a:endParaRPr kumimoji="1" lang="en-US" altLang="ja-JP"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5000"/>
              </a:spcBef>
              <a:spcAft>
                <a:spcPct val="0"/>
              </a:spcAft>
              <a:buClrTx/>
              <a:buSzTx/>
              <a:buFontTx/>
              <a:buNone/>
              <a:tabLst/>
              <a:defRPr/>
            </a:pPr>
            <a:endParaRPr kumimoji="1" lang="en-US" altLang="ja-JP"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243" name="Rectangle 66"/>
          <p:cNvSpPr>
            <a:spLocks noChangeArrowheads="1"/>
          </p:cNvSpPr>
          <p:nvPr/>
        </p:nvSpPr>
        <p:spPr>
          <a:xfrm>
            <a:off x="107950" y="1700808"/>
            <a:ext cx="2375818" cy="4980809"/>
          </a:xfrm>
          <a:prstGeom prst="rect">
            <a:avLst/>
          </a:pr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050" b="0" i="0" u="sng"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44"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３．概要　</a:t>
            </a:r>
            <a:r>
              <a:rPr kumimoji="1" lang="en-US" altLang="ja-JP"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者名</a:t>
            </a:r>
            <a:r>
              <a:rPr kumimoji="1" lang="en-US" altLang="ja-JP"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45" name="正方形/長方形 2"/>
          <p:cNvSpPr/>
          <p:nvPr/>
        </p:nvSpPr>
        <p:spPr>
          <a:xfrm>
            <a:off x="107950" y="656948"/>
            <a:ext cx="8978900" cy="914400"/>
          </a:xfrm>
          <a:prstGeom prst="rect">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ＭＳ Ｐゴシック"/>
                <a:ea typeface="ＭＳ Ｐゴシック"/>
                <a:cs typeface="+mn-cs"/>
              </a:rPr>
              <a:t>■ 事業のセールスポイント</a:t>
            </a:r>
            <a:endParaRPr kumimoji="1" lang="en-US" altLang="ja-JP" sz="1600" b="0" i="0" u="none" strike="noStrike" kern="12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ＭＳ Ｐゴシック"/>
                <a:ea typeface="ＭＳ Ｐゴシック"/>
                <a:cs typeface="+mn-cs"/>
              </a:rPr>
              <a:t>　</a:t>
            </a:r>
            <a:r>
              <a:rPr kumimoji="1" lang="ja-JP" altLang="en-US" sz="1600" b="0" i="1" u="none" strike="noStrike" kern="1200" cap="none" spc="0" normalizeH="0" baseline="0" noProof="0">
                <a:ln>
                  <a:noFill/>
                </a:ln>
                <a:solidFill>
                  <a:srgbClr val="FF0000"/>
                </a:solidFill>
                <a:effectLst/>
                <a:uLnTx/>
                <a:uFillTx/>
                <a:latin typeface="ＭＳ Ｐゴシック"/>
                <a:ea typeface="ＭＳ Ｐゴシック"/>
                <a:cs typeface="+mn-cs"/>
              </a:rPr>
              <a:t>（提案の中で特に優れている点、それにより地域にどのような変化をもたらすかを簡潔に記載）　</a:t>
            </a:r>
            <a:endParaRPr kumimoji="1" lang="en-US" altLang="ja-JP" sz="1800" b="0" i="1" u="none" strike="noStrike" kern="1200" cap="none" spc="-20" normalizeH="0" baseline="0" noProof="0">
              <a:ln>
                <a:noFill/>
              </a:ln>
              <a:solidFill>
                <a:srgbClr val="FF0000"/>
              </a:solidFill>
              <a:effectLst/>
              <a:uLnTx/>
              <a:uFillTx/>
              <a:latin typeface="ＭＳ Ｐゴシック"/>
              <a:ea typeface="ＭＳ Ｐゴシック"/>
              <a:cs typeface="+mn-cs"/>
            </a:endParaRPr>
          </a:p>
        </p:txBody>
      </p:sp>
      <p:sp>
        <p:nvSpPr>
          <p:cNvPr id="1246" name="テキスト ボックス 11"/>
          <p:cNvSpPr txBox="1"/>
          <p:nvPr/>
        </p:nvSpPr>
        <p:spPr>
          <a:xfrm>
            <a:off x="2516390" y="1700808"/>
            <a:ext cx="6603341"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関連事業全体の概要</a:t>
            </a:r>
            <a:endParaRPr kumimoji="1" lang="en-US" altLang="ja-JP" sz="16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49"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B3AA141A-6340-41B9-A997-C61DC5FC9FCF}"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3</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 name="テキスト ボックス 2">
            <a:extLst>
              <a:ext uri="{FF2B5EF4-FFF2-40B4-BE49-F238E27FC236}">
                <a16:creationId xmlns:a16="http://schemas.microsoft.com/office/drawing/2014/main" id="{01C8A092-A0BA-6DB3-9555-2D7AAB60F8C5}"/>
              </a:ext>
            </a:extLst>
          </p:cNvPr>
          <p:cNvSpPr txBox="1"/>
          <p:nvPr/>
        </p:nvSpPr>
        <p:spPr>
          <a:xfrm>
            <a:off x="2447255" y="1984156"/>
            <a:ext cx="6440277" cy="58477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提案事業とそれに関連する事業を含めた取組の全体概要を図表を用いてわかりやすく記載）</a:t>
            </a:r>
          </a:p>
        </p:txBody>
      </p:sp>
    </p:spTree>
    <p:extLst>
      <p:ext uri="{BB962C8B-B14F-4D97-AF65-F5344CB8AC3E}">
        <p14:creationId xmlns:p14="http://schemas.microsoft.com/office/powerpoint/2010/main" val="14016093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C-</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２））</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7867413"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C.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事業目的や期待する成果との整合性</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81</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２）具体的に目指す成果 （２ページ以内）</a:t>
            </a: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本事業の目的や期待する成果を加味したうえで、どのような点で成果を生むことが出来るか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p:txBody>
      </p:sp>
      <p:sp>
        <p:nvSpPr>
          <p:cNvPr id="12" name="正方形/長方形 3">
            <a:extLst>
              <a:ext uri="{FF2B5EF4-FFF2-40B4-BE49-F238E27FC236}">
                <a16:creationId xmlns:a16="http://schemas.microsoft.com/office/drawing/2014/main" id="{E59F3363-9BE5-4324-8935-D20D6D7F616E}"/>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7504389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C</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7867413"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C.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その他アピールしたい点・補足すべき内容（任意）</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82</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ＭＳ Ｐゴシック"/>
                <a:ea typeface="ＭＳ Ｐゴシック"/>
                <a:cs typeface="Times New Roman" panose="02020603050405020304" pitchFamily="18" charset="0"/>
              </a:rPr>
              <a:t>その他アピールしたい点・補足すべき内容 （任意・２ページまで）</a:t>
            </a:r>
            <a:endPar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その他アピールしたい点や補足すべき内容があれば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　無記載でも審査への影響はありません</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2" name="正方形/長方形 3">
            <a:extLst>
              <a:ext uri="{FF2B5EF4-FFF2-40B4-BE49-F238E27FC236}">
                <a16:creationId xmlns:a16="http://schemas.microsoft.com/office/drawing/2014/main" id="{E59F3363-9BE5-4324-8935-D20D6D7F616E}"/>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9259240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C</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7867413"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B</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C. </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その他アピールしたい点・補足すべき内容（任意）</a:t>
            </a:r>
            <a:r>
              <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83</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ＭＳ Ｐゴシック"/>
                <a:ea typeface="ＭＳ Ｐゴシック"/>
                <a:cs typeface="Times New Roman" panose="02020603050405020304" pitchFamily="18" charset="0"/>
              </a:rPr>
              <a:t>その他アピールしたい点・補足すべき内容 （任意・２ページまで）</a:t>
            </a:r>
            <a:endPar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mn-cs"/>
              </a:rPr>
              <a:t>その他アピールしたい点や補足すべき内容があればご記載ください</a:t>
            </a: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ja-JP" altLang="en-US" sz="1200" b="0" i="0" u="none" strike="noStrike" kern="100" cap="none" spc="0" normalizeH="0" baseline="0" noProof="0">
                <a:ln>
                  <a:noFill/>
                </a:ln>
                <a:solidFill>
                  <a:srgbClr val="FF0000"/>
                </a:solidFill>
                <a:effectLst/>
                <a:uLnTx/>
                <a:uFillTx/>
                <a:latin typeface="ＭＳ Ｐゴシック"/>
                <a:ea typeface="ＭＳ Ｐゴシック"/>
                <a:cs typeface="Times New Roman" panose="02020603050405020304" pitchFamily="18" charset="0"/>
              </a:rPr>
              <a:t>　無記載でも審査への影響はありません</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ts val="1500"/>
              </a:lnSpc>
              <a:spcBef>
                <a:spcPct val="0"/>
              </a:spcBef>
              <a:spcAft>
                <a:spcPts val="0"/>
              </a:spcAft>
              <a:buClrTx/>
              <a:buSzTx/>
              <a:buFontTx/>
              <a:buNone/>
              <a:tabLst/>
              <a:defRPr/>
            </a:pPr>
            <a:endParaRPr kumimoji="1" lang="en-US" altLang="ja-JP" sz="1200" b="0" i="0" u="none" strike="noStrike" kern="100" cap="none" spc="0" normalizeH="0" baseline="0" noProof="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2" name="正方形/長方形 3">
            <a:extLst>
              <a:ext uri="{FF2B5EF4-FFF2-40B4-BE49-F238E27FC236}">
                <a16:creationId xmlns:a16="http://schemas.microsoft.com/office/drawing/2014/main" id="{E59F3363-9BE5-4324-8935-D20D6D7F616E}"/>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5430897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D</a:t>
            </a: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1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2019" name="Text Box 4"/>
          <p:cNvSpPr txBox="1">
            <a:spLocks noChangeArrowheads="1"/>
          </p:cNvSpPr>
          <p:nvPr/>
        </p:nvSpPr>
        <p:spPr>
          <a:xfrm>
            <a:off x="146733" y="751641"/>
            <a:ext cx="2769084"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200" cap="none" spc="0" normalizeH="0" baseline="0" noProof="0">
                <a:ln>
                  <a:noFill/>
                </a:ln>
                <a:solidFill>
                  <a:srgbClr val="000000"/>
                </a:solidFill>
                <a:effectLst/>
                <a:uLnTx/>
                <a:uFillTx/>
                <a:latin typeface="ＭＳ Ｐゴシック"/>
                <a:ea typeface="ＭＳ Ｐゴシック"/>
                <a:cs typeface="+mn-cs"/>
              </a:rPr>
              <a:t>D. </a:t>
            </a:r>
            <a:r>
              <a:rPr kumimoji="1" lang="ja-JP" altLang="en-US" sz="1400" b="1" i="0" u="none" strike="noStrike" kern="1200" cap="none" spc="0" normalizeH="0" baseline="0" noProof="0">
                <a:ln>
                  <a:noFill/>
                </a:ln>
                <a:solidFill>
                  <a:srgbClr val="000000"/>
                </a:solidFill>
                <a:effectLst/>
                <a:uLnTx/>
                <a:uFillTx/>
                <a:latin typeface="ＭＳ Ｐゴシック"/>
                <a:ea typeface="ＭＳ Ｐゴシック"/>
                <a:cs typeface="+mn-cs"/>
              </a:rPr>
              <a:t>その他</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84</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1" name="正方形/長方形 10">
            <a:extLst>
              <a:ext uri="{FF2B5EF4-FFF2-40B4-BE49-F238E27FC236}">
                <a16:creationId xmlns:a16="http://schemas.microsoft.com/office/drawing/2014/main" id="{0664133A-7D7C-4979-849C-739D0AF34D8B}"/>
              </a:ext>
            </a:extLst>
          </p:cNvPr>
          <p:cNvSpPr/>
          <p:nvPr/>
        </p:nvSpPr>
        <p:spPr>
          <a:xfrm>
            <a:off x="190939" y="1152642"/>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ワーク・ライフ・バランス等推進企業に関する認定等の状況</a:t>
            </a:r>
            <a:endParaRPr kumimoji="1" lang="en-US" altLang="ja-JP" sz="1200" b="1" i="0" u="none" strike="noStrike" kern="100" cap="none" spc="0" normalizeH="0" baseline="0" noProof="0">
              <a:ln>
                <a:noFill/>
              </a:ln>
              <a:solidFill>
                <a:srgbClr val="FFFFFF"/>
              </a:solidFill>
              <a:effectLst/>
              <a:uLnTx/>
              <a:uFillTx/>
              <a:latin typeface="Arial"/>
              <a:ea typeface="ＭＳ Ｐゴシック"/>
              <a:cs typeface="+mn-cs"/>
            </a:endParaRPr>
          </a:p>
        </p:txBody>
      </p:sp>
      <p:sp>
        <p:nvSpPr>
          <p:cNvPr id="13" name="正方形/長方形 12">
            <a:extLst>
              <a:ext uri="{FF2B5EF4-FFF2-40B4-BE49-F238E27FC236}">
                <a16:creationId xmlns:a16="http://schemas.microsoft.com/office/drawing/2014/main" id="{C8BB7392-E9FF-4DDD-8B89-72DB98243C60}"/>
              </a:ext>
            </a:extLst>
          </p:cNvPr>
          <p:cNvSpPr/>
          <p:nvPr/>
        </p:nvSpPr>
        <p:spPr>
          <a:xfrm>
            <a:off x="190969" y="1437484"/>
            <a:ext cx="8762062" cy="18475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just" defTabSz="914400" rtl="0" eaLnBrk="0" fontAlgn="base" latinLnBrk="0" hangingPunct="0">
              <a:lnSpc>
                <a:spcPct val="100000"/>
              </a:lnSpc>
              <a:spcBef>
                <a:spcPct val="2000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a:ln>
                <a:noFill/>
              </a:ln>
              <a:solidFill>
                <a:srgbClr val="000000"/>
              </a:solidFill>
              <a:effectLst/>
              <a:uLnTx/>
              <a:uFillTx/>
              <a:latin typeface="ＭＳ Ｐゴシック"/>
              <a:ea typeface="ＭＳ Ｐゴシック"/>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endPar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に基づく認定（えるぼし認定企業・プラチナえるぼし認定企業。労働時間等の働き方に係る基準は満たすことが必要。）、次世代育成支援対策推進法に基づく認定（くるみん認定企業・プラチナくるみん認定企業）又は青少年の雇用の促進等に関する法律に基づく認定（ユースエール認定企業）の状況</a:t>
            </a:r>
            <a:r>
              <a:rPr kumimoji="1" lang="ja-JP" altLang="en-US"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を記載すること</a:t>
            </a:r>
            <a:endParaRPr kumimoji="1" lang="ja-JP"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第８条に基づく一般事業主行動計画（計画期間が満了していないものに限る。）の策定状況（常時雇用する労働者の数が</a:t>
            </a:r>
            <a:r>
              <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300</a:t>
            </a:r>
            <a:r>
              <a:rPr kumimoji="1" lang="ja-JP"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人以下の事業主に限る。）</a:t>
            </a:r>
            <a:r>
              <a:rPr kumimoji="1" lang="ja-JP" altLang="en-US"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を記載すること</a:t>
            </a:r>
            <a:endPar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認定を得ている場合は事業管理機関のワーク・ライフ・バランス等推進に関する認定等の根拠となる資料の写しを添付すること</a:t>
            </a:r>
            <a:endPar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endPar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5" name="正方形/長方形 3">
            <a:extLst>
              <a:ext uri="{FF2B5EF4-FFF2-40B4-BE49-F238E27FC236}">
                <a16:creationId xmlns:a16="http://schemas.microsoft.com/office/drawing/2014/main" id="{99744721-1CDE-4AD7-A6A5-DFACC9C5FCD3}"/>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67</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5</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6445708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2"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実施体制</a:t>
            </a:r>
          </a:p>
        </p:txBody>
      </p:sp>
      <p:sp>
        <p:nvSpPr>
          <p:cNvPr id="1993"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994" name="正方形/長方形 3"/>
          <p:cNvSpPr/>
          <p:nvPr/>
        </p:nvSpPr>
        <p:spPr>
          <a:xfrm>
            <a:off x="176274" y="719424"/>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業務従事者に関する情報</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graphicFrame>
        <p:nvGraphicFramePr>
          <p:cNvPr id="1995" name="表 2"/>
          <p:cNvGraphicFramePr>
            <a:graphicFrameLocks noGrp="1"/>
          </p:cNvGraphicFramePr>
          <p:nvPr/>
        </p:nvGraphicFramePr>
        <p:xfrm>
          <a:off x="158683" y="1062170"/>
          <a:ext cx="8826633" cy="3017520"/>
        </p:xfrm>
        <a:graphic>
          <a:graphicData uri="http://schemas.openxmlformats.org/drawingml/2006/table">
            <a:tbl>
              <a:tblPr firstRow="1" bandRow="1">
                <a:tableStyleId>{5C22544A-7EE6-4342-B048-85BDC9FD1C3A}</a:tableStyleId>
              </a:tblPr>
              <a:tblGrid>
                <a:gridCol w="1057082">
                  <a:extLst>
                    <a:ext uri="{9D8B030D-6E8A-4147-A177-3AD203B41FA5}">
                      <a16:colId xmlns:a16="http://schemas.microsoft.com/office/drawing/2014/main" val="20000"/>
                    </a:ext>
                  </a:extLst>
                </a:gridCol>
                <a:gridCol w="1585623">
                  <a:extLst>
                    <a:ext uri="{9D8B030D-6E8A-4147-A177-3AD203B41FA5}">
                      <a16:colId xmlns:a16="http://schemas.microsoft.com/office/drawing/2014/main" val="20001"/>
                    </a:ext>
                  </a:extLst>
                </a:gridCol>
                <a:gridCol w="1215644">
                  <a:extLst>
                    <a:ext uri="{9D8B030D-6E8A-4147-A177-3AD203B41FA5}">
                      <a16:colId xmlns:a16="http://schemas.microsoft.com/office/drawing/2014/main" val="20002"/>
                    </a:ext>
                  </a:extLst>
                </a:gridCol>
                <a:gridCol w="2484142">
                  <a:extLst>
                    <a:ext uri="{9D8B030D-6E8A-4147-A177-3AD203B41FA5}">
                      <a16:colId xmlns:a16="http://schemas.microsoft.com/office/drawing/2014/main" val="20003"/>
                    </a:ext>
                  </a:extLst>
                </a:gridCol>
                <a:gridCol w="2484142">
                  <a:extLst>
                    <a:ext uri="{9D8B030D-6E8A-4147-A177-3AD203B41FA5}">
                      <a16:colId xmlns:a16="http://schemas.microsoft.com/office/drawing/2014/main" val="20004"/>
                    </a:ext>
                  </a:extLst>
                </a:gridCol>
              </a:tblGrid>
              <a:tr h="0">
                <a:tc>
                  <a:txBody>
                    <a:bodyPr/>
                    <a:lstStyle/>
                    <a:p>
                      <a:pPr algn="ctr"/>
                      <a:r>
                        <a:rPr kumimoji="1" lang="ja-JP" altLang="en-US" sz="1200" b="1">
                          <a:solidFill>
                            <a:schemeClr val="bg1"/>
                          </a:solidFill>
                        </a:rPr>
                        <a:t>氏名</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a:solidFill>
                            <a:schemeClr val="bg1"/>
                          </a:solidFill>
                        </a:rPr>
                        <a:t>所属</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a:solidFill>
                            <a:schemeClr val="bg1"/>
                          </a:solidFill>
                        </a:rPr>
                        <a:t>役職</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a:solidFill>
                            <a:schemeClr val="bg1"/>
                          </a:solidFill>
                        </a:rPr>
                        <a:t>業務経験</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a:solidFill>
                            <a:schemeClr val="bg1"/>
                          </a:solidFill>
                        </a:rPr>
                        <a:t>専門的知識その他の知見など</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26366113"/>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799825794"/>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641138300"/>
                  </a:ext>
                </a:extLst>
              </a:tr>
            </a:tbl>
          </a:graphicData>
        </a:graphic>
      </p:graphicFrame>
      <p:sp>
        <p:nvSpPr>
          <p:cNvPr id="1998" name="Text Box 4"/>
          <p:cNvSpPr txBox="1">
            <a:spLocks noChangeArrowheads="1"/>
          </p:cNvSpPr>
          <p:nvPr/>
        </p:nvSpPr>
        <p:spPr>
          <a:xfrm>
            <a:off x="182424" y="4308088"/>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情報管理体制</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99" name="Rectangle 66"/>
          <p:cNvSpPr>
            <a:spLocks noChangeArrowheads="1"/>
          </p:cNvSpPr>
          <p:nvPr/>
        </p:nvSpPr>
        <p:spPr>
          <a:xfrm>
            <a:off x="161921" y="4653136"/>
            <a:ext cx="8826633" cy="1046114"/>
          </a:xfrm>
          <a:prstGeom prst="rect">
            <a:avLst/>
          </a:prstGeom>
          <a:noFill/>
          <a:ln w="6350">
            <a:solidFill>
              <a:schemeClr val="bg1">
                <a:lumMod val="50000"/>
              </a:schemeClr>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20000"/>
              </a:spcBef>
              <a:spcAft>
                <a:spcPts val="0"/>
              </a:spcAft>
              <a:buClrTx/>
              <a:buSzTx/>
              <a:buFontTx/>
              <a:buNone/>
              <a:tabLst>
                <a:tab pos="92075" algn="l"/>
              </a:tabLst>
              <a:defRPr/>
            </a:pPr>
            <a:r>
              <a:rPr kumimoji="1" lang="en-US" altLang="ja-JP"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受託者の情報管理体制がわかる「情報管理体制図」、情報を取扱う者の氏名、住所、生年月日、所属部署、役職等がわかる「情報取扱者名簿」を契約時に提出することを確約する</a:t>
            </a:r>
            <a:r>
              <a:rPr kumimoji="1" lang="ja-JP" altLang="en-US"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場合、下記のチェックボックスに✓を入れること。</a:t>
            </a:r>
            <a:r>
              <a:rPr kumimoji="1" lang="ja-JP" altLang="ja-JP"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募集要領の別添</a:t>
            </a:r>
            <a:r>
              <a:rPr kumimoji="1" lang="en-US" altLang="ja-JP"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5</a:t>
            </a:r>
            <a:r>
              <a:rPr kumimoji="1" lang="ja-JP" altLang="ja-JP"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にて提示）</a:t>
            </a:r>
            <a:endParaRPr kumimoji="1" lang="en-US" altLang="ja-JP"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20000"/>
              </a:spcBef>
              <a:spcAft>
                <a:spcPts val="0"/>
              </a:spcAft>
              <a:buClrTx/>
              <a:buSzTx/>
              <a:buFontTx/>
              <a:buNone/>
              <a:tabLst/>
              <a:defRPr/>
            </a:pPr>
            <a:endParaRPr kumimoji="1" lang="en-US"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20000"/>
              </a:spcBef>
              <a:spcAft>
                <a:spcPts val="0"/>
              </a:spcAft>
              <a:buClrTx/>
              <a:buSzTx/>
              <a:buFontTx/>
              <a:buNone/>
              <a:tabLst>
                <a:tab pos="4303713" algn="l"/>
              </a:tabLst>
              <a:defRPr/>
            </a:pPr>
            <a:r>
              <a:rPr kumimoji="1" lang="en-US" altLang="ja-JP"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r>
              <a:rPr kumimoji="1" lang="ja-JP" altLang="en-US"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情報取扱者名簿を契約時に提出することを確約します。</a:t>
            </a:r>
            <a:endParaRPr kumimoji="1" lang="ja-JP" altLang="ja-JP" sz="1200" b="0" i="0" u="none" strike="noStrike" kern="1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85</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 name="正方形/長方形 2">
            <a:extLst>
              <a:ext uri="{FF2B5EF4-FFF2-40B4-BE49-F238E27FC236}">
                <a16:creationId xmlns:a16="http://schemas.microsoft.com/office/drawing/2014/main" id="{50BF5269-54E4-41F6-935C-5D6807500BF8}"/>
              </a:ext>
            </a:extLst>
          </p:cNvPr>
          <p:cNvSpPr/>
          <p:nvPr/>
        </p:nvSpPr>
        <p:spPr>
          <a:xfrm>
            <a:off x="8118680" y="5292064"/>
            <a:ext cx="216000" cy="216000"/>
          </a:xfrm>
          <a:prstGeom prst="rec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Tree>
    <p:extLst>
      <p:ext uri="{BB962C8B-B14F-4D97-AF65-F5344CB8AC3E}">
        <p14:creationId xmlns:p14="http://schemas.microsoft.com/office/powerpoint/2010/main" val="11263730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0"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再委託先情報</a:t>
            </a:r>
          </a:p>
        </p:txBody>
      </p:sp>
      <p:sp>
        <p:nvSpPr>
          <p:cNvPr id="1981"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982" name="正方形/長方形 3"/>
          <p:cNvSpPr/>
          <p:nvPr/>
        </p:nvSpPr>
        <p:spPr>
          <a:xfrm>
            <a:off x="277063" y="1889106"/>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再委託先情報</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83" name="正方形/長方形 34"/>
          <p:cNvSpPr/>
          <p:nvPr/>
        </p:nvSpPr>
        <p:spPr>
          <a:xfrm>
            <a:off x="221346" y="654009"/>
            <a:ext cx="8776762" cy="120032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再委託を行う場合は、再委託先の名称、業務内容及び業務範囲を明記すること。（事業全体の企画及び立案並びに根幹に関わる執行管理について、再委託をすることはできません）。</a:t>
            </a:r>
            <a:endParaRPr kumimoji="1" lang="en-US" altLang="ja-JP" sz="1200" b="0" i="0" u="none" strike="noStrike" kern="1200" cap="none" spc="0" normalizeH="0" baseline="0" noProof="0" dirty="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事業費総額に対する再委託費の割合は５０％を超えないこと。超える場合は、相当な理由がわかる内容（</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募集要領の別添</a:t>
            </a: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再委託費率が５０％を超える理由書」）を作成し提出すること。</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再委託を行う場合、グループ企業との取引であることのみを選定理由とした調達は、原則、認めない（経済性の観点から、相見積りを取り、相見積りの中で最低価格を提示した者を選定すること）。</a:t>
            </a:r>
          </a:p>
        </p:txBody>
      </p:sp>
      <p:graphicFrame>
        <p:nvGraphicFramePr>
          <p:cNvPr id="1985" name="表 2"/>
          <p:cNvGraphicFramePr>
            <a:graphicFrameLocks noGrp="1"/>
          </p:cNvGraphicFramePr>
          <p:nvPr/>
        </p:nvGraphicFramePr>
        <p:xfrm>
          <a:off x="277063" y="2231651"/>
          <a:ext cx="8640960" cy="3622895"/>
        </p:xfrm>
        <a:graphic>
          <a:graphicData uri="http://schemas.openxmlformats.org/drawingml/2006/table">
            <a:tbl>
              <a:tblPr firstRow="1" bandRow="1">
                <a:tableStyleId>{5C22544A-7EE6-4342-B048-85BDC9FD1C3A}</a:tableStyleId>
              </a:tblPr>
              <a:tblGrid>
                <a:gridCol w="2468846">
                  <a:extLst>
                    <a:ext uri="{9D8B030D-6E8A-4147-A177-3AD203B41FA5}">
                      <a16:colId xmlns:a16="http://schemas.microsoft.com/office/drawing/2014/main" val="20000"/>
                    </a:ext>
                  </a:extLst>
                </a:gridCol>
                <a:gridCol w="6172114">
                  <a:extLst>
                    <a:ext uri="{9D8B030D-6E8A-4147-A177-3AD203B41FA5}">
                      <a16:colId xmlns:a16="http://schemas.microsoft.com/office/drawing/2014/main" val="20001"/>
                    </a:ext>
                  </a:extLst>
                </a:gridCol>
              </a:tblGrid>
              <a:tr h="273872">
                <a:tc>
                  <a:txBody>
                    <a:bodyPr/>
                    <a:lstStyle/>
                    <a:p>
                      <a:pPr algn="ctr"/>
                      <a:r>
                        <a:rPr kumimoji="1" lang="ja-JP" altLang="en-US" sz="1200" b="1">
                          <a:solidFill>
                            <a:schemeClr val="bg1"/>
                          </a:solidFill>
                        </a:rPr>
                        <a:t>再委託先名称</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a:solidFill>
                            <a:schemeClr val="bg1"/>
                          </a:solidFill>
                        </a:rPr>
                        <a:t>業務の内容及び範囲</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669715">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69715">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69715">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69715">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69715">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86</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1531275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事業実績</a:t>
            </a:r>
          </a:p>
        </p:txBody>
      </p:sp>
      <p:sp>
        <p:nvSpPr>
          <p:cNvPr id="193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1939" name="正方形/長方形 6"/>
          <p:cNvSpPr/>
          <p:nvPr/>
        </p:nvSpPr>
        <p:spPr>
          <a:xfrm>
            <a:off x="251520" y="681522"/>
            <a:ext cx="8640960" cy="276999"/>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類似事業の実績があれば、記載</a:t>
            </a:r>
            <a:r>
              <a:rPr kumimoji="1" lang="ja-JP" altLang="en-US" sz="1200" b="0" i="0" u="none" strike="noStrike" kern="1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すること</a:t>
            </a:r>
            <a:endParaRPr kumimoji="1" lang="ja-JP" altLang="ja-JP" sz="1200" b="0" i="0" u="none" strike="noStrike" kern="1200" cap="none" spc="0" normalizeH="0" baseline="0" noProof="0">
              <a:ln>
                <a:noFill/>
              </a:ln>
              <a:solidFill>
                <a:srgbClr val="FF0000"/>
              </a:solidFill>
              <a:effectLst/>
              <a:uLnTx/>
              <a:uFillTx/>
              <a:latin typeface="ＭＳ Ｐゴシック"/>
              <a:ea typeface="ＭＳ Ｐゴシック"/>
              <a:cs typeface="+mn-cs"/>
            </a:endParaRPr>
          </a:p>
        </p:txBody>
      </p:sp>
      <p:graphicFrame>
        <p:nvGraphicFramePr>
          <p:cNvPr id="1940" name="表 2"/>
          <p:cNvGraphicFramePr>
            <a:graphicFrameLocks noGrp="1"/>
          </p:cNvGraphicFramePr>
          <p:nvPr/>
        </p:nvGraphicFramePr>
        <p:xfrm>
          <a:off x="251520" y="1333377"/>
          <a:ext cx="8640960" cy="4831927"/>
        </p:xfrm>
        <a:graphic>
          <a:graphicData uri="http://schemas.openxmlformats.org/drawingml/2006/table">
            <a:tbl>
              <a:tblPr firstRow="1" bandRow="1">
                <a:tableStyleId>{5C22544A-7EE6-4342-B048-85BDC9FD1C3A}</a:tableStyleId>
              </a:tblPr>
              <a:tblGrid>
                <a:gridCol w="2160240">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936104">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tblGrid>
              <a:tr h="216024">
                <a:tc>
                  <a:txBody>
                    <a:bodyPr/>
                    <a:lstStyle/>
                    <a:p>
                      <a:pPr algn="ctr"/>
                      <a:r>
                        <a:rPr kumimoji="1" lang="ja-JP" altLang="en-US" sz="1200" b="1">
                          <a:solidFill>
                            <a:schemeClr val="bg1"/>
                          </a:solidFill>
                        </a:rPr>
                        <a:t>事業名</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a:solidFill>
                            <a:schemeClr val="bg1"/>
                          </a:solidFill>
                        </a:rPr>
                        <a:t>事業概要</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a:solidFill>
                            <a:schemeClr val="bg1"/>
                          </a:solidFill>
                        </a:rPr>
                        <a:t>実施年度</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a:solidFill>
                            <a:schemeClr val="bg1"/>
                          </a:solidFill>
                        </a:rPr>
                        <a:t>発注者等</a:t>
                      </a:r>
                      <a:endParaRPr kumimoji="1" lang="en-US" altLang="ja-JP" sz="1200" b="1">
                        <a:solidFill>
                          <a:schemeClr val="bg1"/>
                        </a:solidFill>
                      </a:endParaRPr>
                    </a:p>
                    <a:p>
                      <a:pPr algn="ctr"/>
                      <a:r>
                        <a:rPr kumimoji="1" lang="ja-JP" altLang="en-US" sz="1200" b="1">
                          <a:solidFill>
                            <a:schemeClr val="bg1"/>
                          </a:solidFill>
                        </a:rPr>
                        <a:t>（自主事業の場合はその旨）</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87</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1" name="正方形/長方形 3">
            <a:extLst>
              <a:ext uri="{FF2B5EF4-FFF2-40B4-BE49-F238E27FC236}">
                <a16:creationId xmlns:a16="http://schemas.microsoft.com/office/drawing/2014/main" id="{CD6EA2BF-C32B-4F5C-B710-0ADD5B647386}"/>
              </a:ext>
            </a:extLst>
          </p:cNvPr>
          <p:cNvSpPr/>
          <p:nvPr/>
        </p:nvSpPr>
        <p:spPr>
          <a:xfrm>
            <a:off x="277063" y="977683"/>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事業実績</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3263167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5"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事業費</a:t>
            </a:r>
          </a:p>
        </p:txBody>
      </p:sp>
      <p:sp>
        <p:nvSpPr>
          <p:cNvPr id="2006" name="Text Box 4"/>
          <p:cNvSpPr txBox="1">
            <a:spLocks noChangeArrowheads="1"/>
          </p:cNvSpPr>
          <p:nvPr/>
        </p:nvSpPr>
        <p:spPr>
          <a:xfrm>
            <a:off x="179512" y="616097"/>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zh-TW"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経費額内訳表</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0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graphicFrame>
        <p:nvGraphicFramePr>
          <p:cNvPr id="2008" name="表 1"/>
          <p:cNvGraphicFramePr>
            <a:graphicFrameLocks noGrp="1"/>
          </p:cNvGraphicFramePr>
          <p:nvPr/>
        </p:nvGraphicFramePr>
        <p:xfrm>
          <a:off x="164227" y="1250404"/>
          <a:ext cx="8872269" cy="4914900"/>
        </p:xfrm>
        <a:graphic>
          <a:graphicData uri="http://schemas.openxmlformats.org/drawingml/2006/table">
            <a:tbl>
              <a:tblPr>
                <a:tableStyleId>{5C22544A-7EE6-4342-B048-85BDC9FD1C3A}</a:tableStyleId>
              </a:tblPr>
              <a:tblGrid>
                <a:gridCol w="1311429">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5472608">
                  <a:extLst>
                    <a:ext uri="{9D8B030D-6E8A-4147-A177-3AD203B41FA5}">
                      <a16:colId xmlns:a16="http://schemas.microsoft.com/office/drawing/2014/main" val="20003"/>
                    </a:ext>
                  </a:extLst>
                </a:gridCol>
              </a:tblGrid>
              <a:tr h="152062">
                <a:tc gridSpan="2">
                  <a:txBody>
                    <a:bodyPr/>
                    <a:lstStyle/>
                    <a:p>
                      <a:pPr algn="ctr" fontAlgn="ctr"/>
                      <a:r>
                        <a:rPr lang="ja-JP" altLang="en-US" sz="1100" b="1" i="0" u="none" strike="noStrike">
                          <a:solidFill>
                            <a:schemeClr val="bg1"/>
                          </a:solidFill>
                          <a:effectLst/>
                        </a:rPr>
                        <a:t>経費の項目</a:t>
                      </a:r>
                      <a:endParaRPr lang="ja-JP" altLang="en-US" sz="1100" b="1" i="0" u="none" strike="noStrike">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hMerge="1">
                  <a:txBody>
                    <a:bodyPr/>
                    <a:lstStyle/>
                    <a:p>
                      <a:endParaRPr kumimoji="1" lang="ja-JP" altLang="en-US"/>
                    </a:p>
                  </a:txBody>
                  <a:tcPr/>
                </a:tc>
                <a:tc rowSpan="2">
                  <a:txBody>
                    <a:bodyPr/>
                    <a:lstStyle/>
                    <a:p>
                      <a:pPr algn="ctr" fontAlgn="ctr"/>
                      <a:r>
                        <a:rPr lang="ja-JP" altLang="en-US" sz="1100" b="1" i="0" u="none" strike="noStrike">
                          <a:solidFill>
                            <a:schemeClr val="bg1"/>
                          </a:solidFill>
                          <a:effectLst/>
                        </a:rPr>
                        <a:t>金額（円）</a:t>
                      </a:r>
                      <a:endParaRPr lang="ja-JP" altLang="en-US" sz="1100" b="1" i="0" u="none" strike="noStrike">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rowSpan="2">
                  <a:txBody>
                    <a:bodyPr/>
                    <a:lstStyle/>
                    <a:p>
                      <a:pPr algn="ctr" fontAlgn="ctr"/>
                      <a:r>
                        <a:rPr lang="ja-JP" altLang="en-US" sz="1100" b="1" i="0" u="none" strike="noStrike">
                          <a:solidFill>
                            <a:schemeClr val="bg1"/>
                          </a:solidFill>
                          <a:effectLst/>
                        </a:rPr>
                        <a:t>積算内訳</a:t>
                      </a:r>
                      <a:endParaRPr lang="ja-JP" altLang="en-US" sz="1100" b="1" i="0" u="none" strike="noStrike">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52062">
                <a:tc>
                  <a:txBody>
                    <a:bodyPr/>
                    <a:lstStyle/>
                    <a:p>
                      <a:pPr algn="ctr" fontAlgn="ctr"/>
                      <a:r>
                        <a:rPr lang="ja-JP" altLang="en-US" sz="1100" b="1" i="0" u="none" strike="noStrike">
                          <a:solidFill>
                            <a:schemeClr val="bg1"/>
                          </a:solidFill>
                          <a:effectLst/>
                        </a:rPr>
                        <a:t>大項目</a:t>
                      </a:r>
                      <a:endParaRPr lang="ja-JP" altLang="en-US" sz="1100" b="1" i="0" u="none" strike="noStrike">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fontAlgn="ctr"/>
                      <a:r>
                        <a:rPr lang="ja-JP" altLang="en-US" sz="1100" b="1" i="0" u="none" strike="noStrike">
                          <a:solidFill>
                            <a:schemeClr val="bg1"/>
                          </a:solidFill>
                          <a:effectLst/>
                        </a:rPr>
                        <a:t>小項目</a:t>
                      </a:r>
                      <a:endParaRPr lang="ja-JP" altLang="en-US" sz="1100" b="1" i="0" u="none" strike="noStrike">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01"/>
                  </a:ext>
                </a:extLst>
              </a:tr>
              <a:tr h="285495">
                <a:tc rowSpan="2">
                  <a:txBody>
                    <a:bodyPr/>
                    <a:lstStyle/>
                    <a:p>
                      <a:pPr algn="l" fontAlgn="ctr"/>
                      <a:r>
                        <a:rPr lang="en-US" altLang="ja-JP" sz="1050" i="0" u="none" strike="noStrike">
                          <a:effectLst/>
                        </a:rPr>
                        <a:t>Ⅰ</a:t>
                      </a:r>
                      <a:r>
                        <a:rPr lang="ja-JP" altLang="en-US" sz="1050" i="0" u="none" strike="noStrike">
                          <a:effectLst/>
                        </a:rPr>
                        <a:t>．人件費</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rowSpan="2">
                  <a:txBody>
                    <a:bodyPr/>
                    <a:lstStyle/>
                    <a:p>
                      <a:pPr algn="ctr" fontAlgn="ctr"/>
                      <a:r>
                        <a:rPr lang="ja-JP" altLang="en-US" sz="1100" i="0" u="none" strike="noStrike">
                          <a:effectLst/>
                        </a:rPr>
                        <a:t>　</a:t>
                      </a:r>
                      <a:endParaRPr lang="ja-JP" altLang="en-US" sz="110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rowSpan="2">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a:solidFill>
                            <a:srgbClr val="FF0000"/>
                          </a:solidFill>
                          <a:effectLst/>
                        </a:rPr>
                        <a:t>プロジェクトマネージャー　：○○円</a:t>
                      </a:r>
                      <a:r>
                        <a:rPr lang="en-US" altLang="ja-JP" sz="1050" i="0" u="none" strike="noStrike">
                          <a:solidFill>
                            <a:srgbClr val="FF0000"/>
                          </a:solidFill>
                          <a:effectLst/>
                        </a:rPr>
                        <a:t>×○○</a:t>
                      </a:r>
                      <a:r>
                        <a:rPr lang="ja-JP" altLang="en-US" sz="1050" i="0" u="none" strike="noStrike">
                          <a:solidFill>
                            <a:srgbClr val="FF0000"/>
                          </a:solidFill>
                          <a:effectLst/>
                        </a:rPr>
                        <a:t>日　　○○円</a:t>
                      </a: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285495">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a:solidFill>
                            <a:srgbClr val="FF0000"/>
                          </a:solidFill>
                          <a:effectLst/>
                        </a:rPr>
                        <a:t>コーディネーター　：○○円</a:t>
                      </a:r>
                      <a:r>
                        <a:rPr lang="en-US" altLang="ja-JP" sz="1050" i="0" u="none" strike="noStrike">
                          <a:solidFill>
                            <a:srgbClr val="FF0000"/>
                          </a:solidFill>
                          <a:effectLst/>
                        </a:rPr>
                        <a:t>×○○</a:t>
                      </a:r>
                      <a:r>
                        <a:rPr lang="ja-JP" altLang="en-US" sz="1050" i="0" u="none" strike="noStrike">
                          <a:solidFill>
                            <a:srgbClr val="FF0000"/>
                          </a:solidFill>
                          <a:effectLst/>
                        </a:rPr>
                        <a:t>日　　○○円</a:t>
                      </a: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565703">
                <a:tc rowSpan="8">
                  <a:txBody>
                    <a:bodyPr/>
                    <a:lstStyle/>
                    <a:p>
                      <a:pPr algn="l" fontAlgn="ctr"/>
                      <a:r>
                        <a:rPr lang="en-US" altLang="ja-JP" sz="1050" i="0" u="none" strike="noStrike">
                          <a:effectLst/>
                        </a:rPr>
                        <a:t>Ⅱ</a:t>
                      </a:r>
                      <a:r>
                        <a:rPr lang="ja-JP" altLang="en-US" sz="1050" i="0" u="none" strike="noStrike" err="1">
                          <a:effectLst/>
                        </a:rPr>
                        <a:t>．</a:t>
                      </a:r>
                      <a:r>
                        <a:rPr lang="ja-JP" altLang="en-US" sz="1050" i="0" u="none" strike="noStrike">
                          <a:effectLst/>
                        </a:rPr>
                        <a:t>事業費</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旅費</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solidFill>
                            <a:srgbClr val="FF0000"/>
                          </a:solidFill>
                          <a:effectLst/>
                        </a:rPr>
                        <a:t>プロジェクトマネージャー：</a:t>
                      </a:r>
                      <a:r>
                        <a:rPr lang="zh-CN" altLang="en-US" sz="1050" i="0" u="none" strike="noStrike">
                          <a:solidFill>
                            <a:srgbClr val="FF0000"/>
                          </a:solidFill>
                          <a:effectLst/>
                        </a:rPr>
                        <a:t>（国内）　○○円</a:t>
                      </a:r>
                      <a:r>
                        <a:rPr lang="en-US" altLang="zh-CN" sz="1050" i="0" u="none" strike="noStrike">
                          <a:solidFill>
                            <a:srgbClr val="FF0000"/>
                          </a:solidFill>
                          <a:effectLst/>
                        </a:rPr>
                        <a:t>×○</a:t>
                      </a:r>
                      <a:r>
                        <a:rPr lang="zh-CN" altLang="en-US" sz="1050" i="0" u="none" strike="noStrike">
                          <a:solidFill>
                            <a:srgbClr val="FF0000"/>
                          </a:solidFill>
                          <a:effectLst/>
                        </a:rPr>
                        <a:t>人</a:t>
                      </a:r>
                      <a:r>
                        <a:rPr lang="en-US" altLang="zh-CN" sz="1050" i="0" u="none" strike="noStrike">
                          <a:solidFill>
                            <a:srgbClr val="FF0000"/>
                          </a:solidFill>
                          <a:effectLst/>
                        </a:rPr>
                        <a:t>×○</a:t>
                      </a:r>
                      <a:r>
                        <a:rPr lang="zh-CN" altLang="en-US" sz="1050" i="0" u="none" strike="noStrike">
                          <a:solidFill>
                            <a:srgbClr val="FF0000"/>
                          </a:solidFill>
                          <a:effectLst/>
                        </a:rPr>
                        <a:t>回　　○○円</a:t>
                      </a:r>
                      <a:endParaRPr lang="zh-CN" altLang="en-US" sz="1050" b="0" i="0" u="none" strike="noStrike">
                        <a:solidFill>
                          <a:srgbClr val="FF0000"/>
                        </a:solidFill>
                        <a:effectLst/>
                        <a:latin typeface="ＭＳ ゴシック" panose="020B0609070205080204" pitchFamily="49" charset="-128"/>
                        <a:ea typeface="ＭＳ ゴシック" panose="020B0609070205080204" pitchFamily="49"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a:solidFill>
                            <a:srgbClr val="FF0000"/>
                          </a:solidFill>
                          <a:effectLst/>
                        </a:rPr>
                        <a:t>コーディネーター：</a:t>
                      </a:r>
                      <a:r>
                        <a:rPr lang="zh-CN" altLang="en-US" sz="1050" i="0" u="none" strike="noStrike">
                          <a:solidFill>
                            <a:srgbClr val="FF0000"/>
                          </a:solidFill>
                          <a:effectLst/>
                        </a:rPr>
                        <a:t>（国内）　○○円</a:t>
                      </a:r>
                      <a:r>
                        <a:rPr lang="en-US" altLang="zh-CN" sz="1050" i="0" u="none" strike="noStrike">
                          <a:solidFill>
                            <a:srgbClr val="FF0000"/>
                          </a:solidFill>
                          <a:effectLst/>
                        </a:rPr>
                        <a:t>×○</a:t>
                      </a:r>
                      <a:r>
                        <a:rPr lang="zh-CN" altLang="en-US" sz="1050" i="0" u="none" strike="noStrike">
                          <a:solidFill>
                            <a:srgbClr val="FF0000"/>
                          </a:solidFill>
                          <a:effectLst/>
                        </a:rPr>
                        <a:t>人</a:t>
                      </a:r>
                      <a:r>
                        <a:rPr lang="en-US" altLang="zh-CN" sz="1050" i="0" u="none" strike="noStrike">
                          <a:solidFill>
                            <a:srgbClr val="FF0000"/>
                          </a:solidFill>
                          <a:effectLst/>
                        </a:rPr>
                        <a:t>×○</a:t>
                      </a:r>
                      <a:r>
                        <a:rPr lang="zh-CN" altLang="en-US" sz="1050" i="0" u="none" strike="noStrike">
                          <a:solidFill>
                            <a:srgbClr val="FF0000"/>
                          </a:solidFill>
                          <a:effectLst/>
                        </a:rPr>
                        <a:t>回　　○○円</a:t>
                      </a:r>
                      <a:endParaRPr lang="en-US" altLang="zh-CN" sz="1050" i="0" u="none" strike="noStrike">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a:solidFill>
                            <a:srgbClr val="FF0000"/>
                          </a:solidFill>
                          <a:effectLst/>
                        </a:rPr>
                        <a:t>専門家：</a:t>
                      </a:r>
                      <a:r>
                        <a:rPr lang="zh-CN" altLang="en-US" sz="1050" i="0" u="none" strike="noStrike">
                          <a:solidFill>
                            <a:srgbClr val="FF0000"/>
                          </a:solidFill>
                          <a:effectLst/>
                        </a:rPr>
                        <a:t>（国内）　○○円</a:t>
                      </a:r>
                      <a:r>
                        <a:rPr lang="en-US" altLang="zh-CN" sz="1050" i="0" u="none" strike="noStrike">
                          <a:solidFill>
                            <a:srgbClr val="FF0000"/>
                          </a:solidFill>
                          <a:effectLst/>
                        </a:rPr>
                        <a:t>×○</a:t>
                      </a:r>
                      <a:r>
                        <a:rPr lang="zh-CN" altLang="en-US" sz="1050" i="0" u="none" strike="noStrike">
                          <a:solidFill>
                            <a:srgbClr val="FF0000"/>
                          </a:solidFill>
                          <a:effectLst/>
                        </a:rPr>
                        <a:t>人</a:t>
                      </a:r>
                      <a:r>
                        <a:rPr lang="en-US" altLang="zh-CN" sz="1050" i="0" u="none" strike="noStrike">
                          <a:solidFill>
                            <a:srgbClr val="FF0000"/>
                          </a:solidFill>
                          <a:effectLst/>
                        </a:rPr>
                        <a:t>×○</a:t>
                      </a:r>
                      <a:r>
                        <a:rPr lang="zh-CN" altLang="en-US" sz="1050" i="0" u="none" strike="noStrike">
                          <a:solidFill>
                            <a:srgbClr val="FF0000"/>
                          </a:solidFill>
                          <a:effectLst/>
                        </a:rPr>
                        <a:t>回　　○○円</a:t>
                      </a:r>
                      <a:endParaRPr lang="en-US" altLang="ja-JP" sz="1050" i="0" u="none" strike="noStrike">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50" i="0" u="none" strike="noStrike">
                          <a:solidFill>
                            <a:srgbClr val="FF0000"/>
                          </a:solidFill>
                          <a:effectLst/>
                        </a:rPr>
                        <a:t>※</a:t>
                      </a:r>
                      <a:r>
                        <a:rPr lang="ja-JP" altLang="en-US" sz="1050" i="0" u="none" strike="noStrike">
                          <a:solidFill>
                            <a:srgbClr val="FF0000"/>
                          </a:solidFill>
                          <a:effectLst/>
                        </a:rPr>
                        <a:t>旅程も具体的（都市名等）に記載すること。</a:t>
                      </a:r>
                      <a:endParaRPr lang="ja-JP" altLang="en-US" sz="1050" b="0" i="0" u="none" strike="noStrike">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285495">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i="0" u="none" strike="noStrike">
                          <a:effectLst/>
                        </a:rPr>
                        <a:t>会場費</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solidFill>
                            <a:srgbClr val="FF0000"/>
                          </a:solidFill>
                          <a:effectLst/>
                        </a:rPr>
                        <a:t>○○説明会会場費　　○○円</a:t>
                      </a:r>
                      <a:r>
                        <a:rPr lang="en-US" altLang="ja-JP" sz="1050" i="0" u="none" strike="noStrike">
                          <a:solidFill>
                            <a:srgbClr val="FF0000"/>
                          </a:solidFill>
                          <a:effectLst/>
                        </a:rPr>
                        <a:t>×○</a:t>
                      </a:r>
                      <a:r>
                        <a:rPr lang="ja-JP" altLang="en-US" sz="1050" i="0" u="none" strike="noStrike">
                          <a:solidFill>
                            <a:srgbClr val="FF0000"/>
                          </a:solidFill>
                          <a:effectLst/>
                        </a:rPr>
                        <a:t>回　　○○円</a:t>
                      </a: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285495">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i="0" u="none" strike="noStrike">
                          <a:effectLst/>
                        </a:rPr>
                        <a:t>謝金</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solidFill>
                            <a:srgbClr val="FF0000"/>
                          </a:solidFill>
                          <a:effectLst/>
                        </a:rPr>
                        <a:t>○○円</a:t>
                      </a:r>
                      <a:r>
                        <a:rPr lang="en-US" altLang="ja-JP" sz="1050" i="0" u="none" strike="noStrike">
                          <a:solidFill>
                            <a:srgbClr val="FF0000"/>
                          </a:solidFill>
                          <a:effectLst/>
                        </a:rPr>
                        <a:t>×○</a:t>
                      </a:r>
                      <a:r>
                        <a:rPr lang="ja-JP" altLang="en-US" sz="1050" i="0" u="none" strike="noStrike">
                          <a:solidFill>
                            <a:srgbClr val="FF0000"/>
                          </a:solidFill>
                          <a:effectLst/>
                        </a:rPr>
                        <a:t>回　　○○円</a:t>
                      </a: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285495">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rPr>
                        <a:t>備品費</a:t>
                      </a: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mn-lt"/>
                          <a:ea typeface="+mn-ea"/>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solidFill>
                            <a:srgbClr val="FF0000"/>
                          </a:solidFill>
                          <a:effectLst/>
                        </a:rPr>
                        <a:t>リース代　○○円</a:t>
                      </a:r>
                      <a:r>
                        <a:rPr lang="en-US" altLang="ja-JP" sz="1050" i="0" u="none" strike="noStrike">
                          <a:solidFill>
                            <a:srgbClr val="FF0000"/>
                          </a:solidFill>
                          <a:effectLst/>
                        </a:rPr>
                        <a:t>×</a:t>
                      </a:r>
                      <a:r>
                        <a:rPr lang="ja-JP" altLang="en-US" sz="1050" i="0" u="none" strike="noStrike">
                          <a:solidFill>
                            <a:srgbClr val="FF0000"/>
                          </a:solidFill>
                          <a:effectLst/>
                        </a:rPr>
                        <a:t>○ヶ月　○○円</a:t>
                      </a: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285495">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rPr>
                        <a:t>消耗品費</a:t>
                      </a: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mn-lt"/>
                          <a:ea typeface="+mn-ea"/>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a:solidFill>
                            <a:srgbClr val="FF0000"/>
                          </a:solidFill>
                          <a:effectLst/>
                        </a:rPr>
                        <a:t>○○円</a:t>
                      </a:r>
                      <a:r>
                        <a:rPr lang="en-US" altLang="ja-JP" sz="1050" i="0" u="none" strike="noStrike">
                          <a:solidFill>
                            <a:srgbClr val="FF0000"/>
                          </a:solidFill>
                          <a:effectLst/>
                        </a:rPr>
                        <a:t>×○○</a:t>
                      </a:r>
                      <a:r>
                        <a:rPr lang="ja-JP" altLang="en-US" sz="1050" i="0" u="none" strike="noStrike">
                          <a:solidFill>
                            <a:srgbClr val="FF0000"/>
                          </a:solidFill>
                          <a:effectLst/>
                        </a:rPr>
                        <a:t>冊　　○○円</a:t>
                      </a: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285495">
                <a:tc vMerge="1">
                  <a:txBody>
                    <a:bodyPr/>
                    <a:lstStyle/>
                    <a:p>
                      <a:endParaRPr kumimoji="1" lang="ja-JP" altLang="en-US"/>
                    </a:p>
                  </a:txBody>
                  <a:tcPr/>
                </a:tc>
                <a:tc>
                  <a:txBody>
                    <a:bodyPr/>
                    <a:lstStyle/>
                    <a:p>
                      <a:pPr algn="l" fontAlgn="ctr"/>
                      <a:r>
                        <a:rPr lang="ja-JP" altLang="en-US" sz="1050" i="0" u="none" strike="noStrike">
                          <a:effectLst/>
                        </a:rPr>
                        <a:t>印刷製本費</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solidFill>
                            <a:srgbClr val="FF0000"/>
                          </a:solidFill>
                          <a:effectLst/>
                        </a:rPr>
                        <a:t>説明会資料　○○円</a:t>
                      </a:r>
                      <a:r>
                        <a:rPr lang="en-US" altLang="ja-JP" sz="1050" i="0" u="none" strike="noStrike">
                          <a:solidFill>
                            <a:srgbClr val="FF0000"/>
                          </a:solidFill>
                          <a:effectLst/>
                        </a:rPr>
                        <a:t>×○○</a:t>
                      </a:r>
                      <a:r>
                        <a:rPr lang="ja-JP" altLang="en-US" sz="1050" i="0" u="none" strike="noStrike">
                          <a:solidFill>
                            <a:srgbClr val="FF0000"/>
                          </a:solidFill>
                          <a:effectLst/>
                        </a:rPr>
                        <a:t>冊　　○○円</a:t>
                      </a: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285495">
                <a:tc vMerge="1">
                  <a:txBody>
                    <a:bodyPr/>
                    <a:lstStyle/>
                    <a:p>
                      <a:endParaRPr kumimoji="1" lang="ja-JP" altLang="en-US"/>
                    </a:p>
                  </a:txBody>
                  <a:tcPr/>
                </a:tc>
                <a:tc>
                  <a:txBody>
                    <a:bodyPr/>
                    <a:lstStyle/>
                    <a:p>
                      <a:pPr algn="l" fontAlgn="ctr"/>
                      <a:r>
                        <a:rPr lang="zh-TW" altLang="en-US" sz="1050" i="0" u="none" strike="noStrike">
                          <a:effectLst/>
                        </a:rPr>
                        <a:t>補助職員人件費</a:t>
                      </a:r>
                      <a:endParaRPr lang="zh-TW"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a:solidFill>
                            <a:srgbClr val="FF0000"/>
                          </a:solidFill>
                          <a:effectLst/>
                        </a:rPr>
                        <a:t>○○等実施アルバイト：○○円</a:t>
                      </a:r>
                      <a:r>
                        <a:rPr lang="en-US" altLang="ja-JP" sz="1050" i="0" u="none" strike="noStrike">
                          <a:solidFill>
                            <a:srgbClr val="FF0000"/>
                          </a:solidFill>
                          <a:effectLst/>
                        </a:rPr>
                        <a:t>×○</a:t>
                      </a:r>
                      <a:r>
                        <a:rPr lang="ja-JP" altLang="en-US" sz="1050" i="0" u="none" strike="noStrike">
                          <a:solidFill>
                            <a:srgbClr val="FF0000"/>
                          </a:solidFill>
                          <a:effectLst/>
                        </a:rPr>
                        <a:t>人</a:t>
                      </a:r>
                      <a:r>
                        <a:rPr lang="en-US" altLang="ja-JP" sz="1050" i="0" u="none" strike="noStrike">
                          <a:solidFill>
                            <a:srgbClr val="FF0000"/>
                          </a:solidFill>
                          <a:effectLst/>
                        </a:rPr>
                        <a:t>×○○</a:t>
                      </a:r>
                      <a:r>
                        <a:rPr lang="ja-JP" altLang="en-US" sz="1050" i="0" u="none" strike="noStrike">
                          <a:solidFill>
                            <a:srgbClr val="FF0000"/>
                          </a:solidFill>
                          <a:effectLst/>
                        </a:rPr>
                        <a:t>日　○○円</a:t>
                      </a: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425599">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i="0" u="none" strike="noStrike">
                          <a:effectLst/>
                        </a:rPr>
                        <a:t>その他諸経費</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en-US" altLang="ja-JP" sz="1050" i="0" u="none" strike="noStrike">
                          <a:solidFill>
                            <a:srgbClr val="FF0000"/>
                          </a:solidFill>
                          <a:effectLst/>
                        </a:rPr>
                        <a:t>※</a:t>
                      </a:r>
                      <a:r>
                        <a:rPr lang="ja-JP" altLang="en-US" sz="1050" i="0" u="none" strike="noStrike">
                          <a:solidFill>
                            <a:srgbClr val="FF0000"/>
                          </a:solidFill>
                          <a:effectLst/>
                        </a:rPr>
                        <a:t>予定される項目を具体的に記載すること。</a:t>
                      </a:r>
                      <a:endParaRPr lang="en-US" altLang="ja-JP" sz="1050" b="0" i="0" u="none" strike="noStrike">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en-US" altLang="ja-JP" sz="1050" i="0" u="none" strike="noStrike">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r h="425599">
                <a:tc>
                  <a:txBody>
                    <a:bodyPr/>
                    <a:lstStyle/>
                    <a:p>
                      <a:pPr algn="l" fontAlgn="ctr"/>
                      <a:r>
                        <a:rPr lang="en-US" altLang="ja-JP" sz="1050" i="0" u="none" strike="noStrike">
                          <a:effectLst/>
                        </a:rPr>
                        <a:t>Ⅲ</a:t>
                      </a:r>
                      <a:r>
                        <a:rPr lang="ja-JP" altLang="en-US" sz="1050" i="0" u="none" strike="noStrike" err="1">
                          <a:effectLst/>
                        </a:rPr>
                        <a:t>．</a:t>
                      </a:r>
                      <a:r>
                        <a:rPr lang="ja-JP" altLang="en-US" sz="1050" i="0" u="none" strike="noStrike">
                          <a:effectLst/>
                        </a:rPr>
                        <a:t>再委託・外注費</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en-US" altLang="ja-JP" sz="1050" i="0" u="none" strike="noStrike">
                          <a:solidFill>
                            <a:srgbClr val="FF0000"/>
                          </a:solidFill>
                          <a:effectLst/>
                        </a:rPr>
                        <a:t>※</a:t>
                      </a:r>
                      <a:r>
                        <a:rPr lang="ja-JP" altLang="en-US" sz="1050" i="0" u="none" strike="noStrike">
                          <a:solidFill>
                            <a:srgbClr val="FF0000"/>
                          </a:solidFill>
                          <a:effectLst/>
                        </a:rPr>
                        <a:t>予定される内容及びその積算を具体的に記載すること。</a:t>
                      </a:r>
                      <a:endParaRPr lang="en-US" altLang="ja-JP" sz="1050" b="0" i="0" u="none" strike="noStrike">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ja-JP" altLang="en-US" sz="1050" b="0" i="0" u="none" strike="noStrike">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2"/>
                  </a:ext>
                </a:extLst>
              </a:tr>
              <a:tr h="145391">
                <a:tc>
                  <a:txBody>
                    <a:bodyPr/>
                    <a:lstStyle/>
                    <a:p>
                      <a:pPr algn="l" fontAlgn="ctr"/>
                      <a:r>
                        <a:rPr lang="en-US" altLang="zh-TW" sz="1050" i="0" u="none" strike="noStrike">
                          <a:effectLst/>
                        </a:rPr>
                        <a:t>Ⅳ</a:t>
                      </a:r>
                      <a:r>
                        <a:rPr lang="zh-TW" altLang="en-US" sz="1050" i="0" u="none" strike="noStrike">
                          <a:effectLst/>
                        </a:rPr>
                        <a:t>．一般管理費</a:t>
                      </a:r>
                      <a:endParaRPr lang="zh-TW"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en-US" altLang="zh-TW" sz="1050" i="0" u="none" strike="noStrike">
                          <a:solidFill>
                            <a:srgbClr val="FF0000"/>
                          </a:solidFill>
                          <a:effectLst/>
                        </a:rPr>
                        <a:t>※</a:t>
                      </a:r>
                      <a:r>
                        <a:rPr lang="zh-TW" altLang="en-US" sz="1050" i="0" u="none" strike="noStrike">
                          <a:solidFill>
                            <a:srgbClr val="FF0000"/>
                          </a:solidFill>
                          <a:effectLst/>
                        </a:rPr>
                        <a:t>（</a:t>
                      </a:r>
                      <a:r>
                        <a:rPr lang="en-US" altLang="zh-TW" sz="1050" i="0" u="none" strike="noStrike">
                          <a:solidFill>
                            <a:srgbClr val="FF0000"/>
                          </a:solidFill>
                          <a:effectLst/>
                        </a:rPr>
                        <a:t>Ⅰ</a:t>
                      </a:r>
                      <a:r>
                        <a:rPr lang="zh-TW" altLang="en-US" sz="1050" i="0" u="none" strike="noStrike">
                          <a:solidFill>
                            <a:srgbClr val="FF0000"/>
                          </a:solidFill>
                          <a:effectLst/>
                        </a:rPr>
                        <a:t>．人件費＋</a:t>
                      </a:r>
                      <a:r>
                        <a:rPr lang="en-US" altLang="zh-TW" sz="1050" i="0" u="none" strike="noStrike">
                          <a:solidFill>
                            <a:srgbClr val="FF0000"/>
                          </a:solidFill>
                          <a:effectLst/>
                        </a:rPr>
                        <a:t>Ⅱ</a:t>
                      </a:r>
                      <a:r>
                        <a:rPr lang="zh-TW" altLang="en-US" sz="1050" i="0" u="none" strike="noStrike">
                          <a:solidFill>
                            <a:srgbClr val="FF0000"/>
                          </a:solidFill>
                          <a:effectLst/>
                        </a:rPr>
                        <a:t>．事業費）</a:t>
                      </a:r>
                      <a:r>
                        <a:rPr lang="en-US" altLang="zh-TW" sz="1050" i="0" u="none" strike="noStrike">
                          <a:solidFill>
                            <a:srgbClr val="FF0000"/>
                          </a:solidFill>
                          <a:effectLst/>
                        </a:rPr>
                        <a:t>×</a:t>
                      </a:r>
                      <a:r>
                        <a:rPr lang="zh-TW" altLang="en-US" sz="1050" i="0" u="none" strike="noStrike">
                          <a:solidFill>
                            <a:srgbClr val="FF0000"/>
                          </a:solidFill>
                          <a:effectLst/>
                        </a:rPr>
                        <a:t>一般管理費率</a:t>
                      </a:r>
                      <a:endParaRPr lang="zh-TW" altLang="en-US" sz="1050" b="0" i="0" u="none" strike="noStrike">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3"/>
                  </a:ext>
                </a:extLst>
              </a:tr>
              <a:tr h="145391">
                <a:tc>
                  <a:txBody>
                    <a:bodyPr/>
                    <a:lstStyle/>
                    <a:p>
                      <a:pPr algn="r" fontAlgn="ctr"/>
                      <a:r>
                        <a:rPr lang="ja-JP" altLang="en-US" sz="1050" i="0" u="none" strike="noStrike">
                          <a:effectLst/>
                        </a:rPr>
                        <a:t>小計</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en-US" altLang="zh-TW" sz="1050" i="0" u="none" strike="noStrike">
                          <a:solidFill>
                            <a:srgbClr val="FF0000"/>
                          </a:solidFill>
                          <a:effectLst/>
                        </a:rPr>
                        <a:t>Ⅰ</a:t>
                      </a:r>
                      <a:r>
                        <a:rPr lang="zh-TW" altLang="en-US" sz="1050" i="0" u="none" strike="noStrike">
                          <a:solidFill>
                            <a:srgbClr val="FF0000"/>
                          </a:solidFill>
                          <a:effectLst/>
                        </a:rPr>
                        <a:t>．人件費＋</a:t>
                      </a:r>
                      <a:r>
                        <a:rPr lang="en-US" altLang="zh-TW" sz="1050" i="0" u="none" strike="noStrike">
                          <a:solidFill>
                            <a:srgbClr val="FF0000"/>
                          </a:solidFill>
                          <a:effectLst/>
                        </a:rPr>
                        <a:t>Ⅱ</a:t>
                      </a:r>
                      <a:r>
                        <a:rPr lang="zh-TW" altLang="en-US" sz="1050" i="0" u="none" strike="noStrike">
                          <a:solidFill>
                            <a:srgbClr val="FF0000"/>
                          </a:solidFill>
                          <a:effectLst/>
                        </a:rPr>
                        <a:t>．事業費＋</a:t>
                      </a:r>
                      <a:r>
                        <a:rPr lang="en-US" altLang="zh-TW" sz="1050" i="0" u="none" strike="noStrike">
                          <a:solidFill>
                            <a:srgbClr val="FF0000"/>
                          </a:solidFill>
                          <a:effectLst/>
                        </a:rPr>
                        <a:t>Ⅲ</a:t>
                      </a:r>
                      <a:r>
                        <a:rPr lang="zh-TW" altLang="en-US" sz="1050" i="0" u="none" strike="noStrike">
                          <a:solidFill>
                            <a:srgbClr val="FF0000"/>
                          </a:solidFill>
                          <a:effectLst/>
                        </a:rPr>
                        <a:t>．再委託費＋</a:t>
                      </a:r>
                      <a:r>
                        <a:rPr lang="en-US" altLang="zh-TW" sz="1050" i="0" u="none" strike="noStrike">
                          <a:solidFill>
                            <a:srgbClr val="FF0000"/>
                          </a:solidFill>
                          <a:effectLst/>
                        </a:rPr>
                        <a:t>Ⅳ</a:t>
                      </a:r>
                      <a:r>
                        <a:rPr lang="zh-TW" altLang="en-US" sz="1050" i="0" u="none" strike="noStrike">
                          <a:solidFill>
                            <a:srgbClr val="FF0000"/>
                          </a:solidFill>
                          <a:effectLst/>
                        </a:rPr>
                        <a:t>．一般管理費</a:t>
                      </a:r>
                      <a:endParaRPr lang="zh-TW" altLang="en-US" sz="1050" b="0" i="0" u="none" strike="noStrike">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4"/>
                  </a:ext>
                </a:extLst>
              </a:tr>
              <a:tr h="145391">
                <a:tc>
                  <a:txBody>
                    <a:bodyPr/>
                    <a:lstStyle/>
                    <a:p>
                      <a:pPr algn="l" fontAlgn="ctr"/>
                      <a:r>
                        <a:rPr lang="en-US" altLang="ja-JP" sz="1050" i="0" u="none" strike="noStrike">
                          <a:effectLst/>
                        </a:rPr>
                        <a:t>Ⅴ</a:t>
                      </a:r>
                      <a:r>
                        <a:rPr lang="ja-JP" altLang="en-US" sz="1050" i="0" u="none" strike="noStrike">
                          <a:effectLst/>
                        </a:rPr>
                        <a:t>．消費税額</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solidFill>
                            <a:srgbClr val="FF0000"/>
                          </a:solidFill>
                          <a:effectLst/>
                        </a:rPr>
                        <a:t>小計</a:t>
                      </a:r>
                      <a:r>
                        <a:rPr lang="en-US" altLang="ja-JP" sz="1050" i="0" u="none" strike="noStrike">
                          <a:solidFill>
                            <a:srgbClr val="FF0000"/>
                          </a:solidFill>
                          <a:effectLst/>
                        </a:rPr>
                        <a:t>×10</a:t>
                      </a:r>
                      <a:r>
                        <a:rPr lang="ja-JP" altLang="en-US" sz="1050" i="0" u="none" strike="noStrike">
                          <a:solidFill>
                            <a:srgbClr val="FF0000"/>
                          </a:solidFill>
                          <a:effectLst/>
                        </a:rPr>
                        <a:t>％</a:t>
                      </a:r>
                      <a:endParaRPr lang="ja-JP" altLang="en-US" sz="1050" b="0" i="0" u="none" strike="noStrike">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5"/>
                  </a:ext>
                </a:extLst>
              </a:tr>
              <a:tr h="288094">
                <a:tc>
                  <a:txBody>
                    <a:bodyPr/>
                    <a:lstStyle/>
                    <a:p>
                      <a:pPr algn="r" fontAlgn="ctr"/>
                      <a:r>
                        <a:rPr lang="ja-JP" altLang="en-US" sz="1050" b="1" i="0" u="none" strike="noStrike">
                          <a:effectLst/>
                        </a:rPr>
                        <a:t>合計（税込）</a:t>
                      </a:r>
                      <a:endParaRPr lang="ja-JP" altLang="en-US" sz="1050" b="1"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endParaRPr lang="ja-JP" altLang="en-US" sz="1050" b="0" i="0" u="none" strike="noStrike">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6"/>
                  </a:ext>
                </a:extLst>
              </a:tr>
            </a:tbl>
          </a:graphicData>
        </a:graphic>
      </p:graphicFrame>
      <p:sp>
        <p:nvSpPr>
          <p:cNvPr id="2009" name="正方形/長方形 34"/>
          <p:cNvSpPr/>
          <p:nvPr/>
        </p:nvSpPr>
        <p:spPr>
          <a:xfrm>
            <a:off x="315220" y="919753"/>
            <a:ext cx="8615376"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記載している費目は例示。募集要領９．（１）経費の区分に応じて必要経費を記載すること</a:t>
            </a: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88</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3556906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今年度のその他申請状況</a:t>
            </a:r>
            <a:endParaRPr kumimoji="1" lang="ja-JP" altLang="en-US" sz="1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1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経済産業省</a:t>
            </a:r>
          </a:p>
        </p:txBody>
      </p:sp>
      <p:sp>
        <p:nvSpPr>
          <p:cNvPr id="2022" name="Rectangle 66"/>
          <p:cNvSpPr>
            <a:spLocks noChangeArrowheads="1"/>
          </p:cNvSpPr>
          <p:nvPr/>
        </p:nvSpPr>
        <p:spPr>
          <a:xfrm>
            <a:off x="171475" y="1169229"/>
            <a:ext cx="8826633" cy="2002639"/>
          </a:xfrm>
          <a:prstGeom prst="rect">
            <a:avLst/>
          </a:prstGeom>
          <a:noFill/>
          <a:ln w="6350">
            <a:solidFill>
              <a:schemeClr val="bg2"/>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171450" marR="0" lvl="0" indent="-171450" algn="l" defTabSz="914400" rtl="0" eaLnBrk="0" fontAlgn="base" latinLnBrk="0" hangingPunct="0">
              <a:lnSpc>
                <a:spcPct val="100000"/>
              </a:lnSpc>
              <a:spcBef>
                <a:spcPct val="2000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20000"/>
              </a:spcBef>
              <a:spcAft>
                <a:spcPts val="0"/>
              </a:spcAft>
              <a:buClrTx/>
              <a:buSzTx/>
              <a:buFontTx/>
              <a:buNone/>
              <a:tabLst/>
              <a:defRPr/>
            </a:pPr>
            <a:endParaRPr kumimoji="1" lang="en-US" altLang="ja-JP"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20000"/>
              </a:spcBef>
              <a:spcAft>
                <a:spcPts val="0"/>
              </a:spcAft>
              <a:buClrTx/>
              <a:buSzTx/>
              <a:buFontTx/>
              <a:buNone/>
              <a:tabLst/>
              <a:defRPr/>
            </a:pPr>
            <a:r>
              <a:rPr kumimoji="1" lang="en-US" altLang="ja-JP"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今年度、他省庁又は地方自治体における他の補助事業や委託事業等、重複して申請中又は申請予定のものがあればその内容を記載すること</a:t>
            </a:r>
            <a:endParaRPr kumimoji="1" lang="ja-JP" altLang="ja-JP" sz="1100" b="0" i="0" u="none" strike="noStrike" kern="100" cap="none" spc="0" normalizeH="0" baseline="0" noProof="0">
              <a:ln>
                <a:noFill/>
              </a:ln>
              <a:solidFill>
                <a:srgbClr val="FF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2023" name="Text Box 4"/>
          <p:cNvSpPr txBox="1">
            <a:spLocks noChangeArrowheads="1"/>
          </p:cNvSpPr>
          <p:nvPr/>
        </p:nvSpPr>
        <p:spPr>
          <a:xfrm>
            <a:off x="171475" y="717270"/>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その他申請状況</a:t>
            </a:r>
            <a:r>
              <a:rPr kumimoji="1" lang="en-US" altLang="ja-JP"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89</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2870765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４．合同審査評価ポイントへの該当性　</a:t>
            </a:r>
            <a:r>
              <a:rPr kumimoji="1" lang="en-US" altLang="ja-JP" sz="2400" b="1" i="0" u="none" strike="noStrike" kern="1200" cap="none" spc="0" normalizeH="0" baseline="0" noProof="0">
                <a:ln>
                  <a:noFill/>
                </a:ln>
                <a:solidFill>
                  <a:srgbClr val="FFFFFF"/>
                </a:solidFill>
                <a:effectLst/>
                <a:uLnTx/>
                <a:uFillTx/>
                <a:latin typeface="ＭＳ Ｐゴシック"/>
                <a:ea typeface="ＭＳ Ｐゴシック"/>
                <a:cs typeface="+mn-cs"/>
              </a:rPr>
              <a:t>【</a:t>
            </a: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申請者名</a:t>
            </a:r>
            <a:r>
              <a:rPr kumimoji="1" lang="en-US" altLang="ja-JP" sz="2400" b="1" i="0" u="none" strike="noStrike" kern="1200" cap="none" spc="0" normalizeH="0" baseline="0" noProof="0">
                <a:ln>
                  <a:noFill/>
                </a:ln>
                <a:solidFill>
                  <a:srgbClr val="FFFFFF"/>
                </a:solidFill>
                <a:effectLst/>
                <a:uLnTx/>
                <a:uFillTx/>
                <a:latin typeface="ＭＳ Ｐゴシック"/>
                <a:ea typeface="ＭＳ Ｐゴシック"/>
                <a:cs typeface="+mn-cs"/>
              </a:rPr>
              <a:t>】</a:t>
            </a:r>
            <a:endPar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A1264516-8899-442B-8DBF-9D5455FF797E}"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4</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3" name="テキスト ボックス 1"/>
          <p:cNvSpPr txBox="1"/>
          <p:nvPr/>
        </p:nvSpPr>
        <p:spPr>
          <a:xfrm>
            <a:off x="-180528" y="608682"/>
            <a:ext cx="8496944" cy="600164"/>
          </a:xfrm>
          <a:prstGeom prst="rect">
            <a:avLst/>
          </a:prstGeom>
          <a:noFill/>
        </p:spPr>
        <p:txBody>
          <a:bodyPr wrap="square" rtlCol="0">
            <a:spAutoFit/>
          </a:bodyPr>
          <a:lstStyle/>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合同審査評価ポイントへの該当性</a:t>
            </a:r>
            <a:endParaRPr kumimoji="1" lang="en-US" altLang="ja-JP"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事業毎の評価基準のほか、合同審査会では以下のポイントを評価する。</a:t>
            </a:r>
            <a:r>
              <a:rPr kumimoji="1" lang="ja-JP" altLang="en-US" sz="1400" b="1" i="1"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該当する項目に〇をつけること</a:t>
            </a:r>
          </a:p>
        </p:txBody>
      </p:sp>
      <p:graphicFrame>
        <p:nvGraphicFramePr>
          <p:cNvPr id="14" name="表 12"/>
          <p:cNvGraphicFramePr>
            <a:graphicFrameLocks noGrp="1"/>
          </p:cNvGraphicFramePr>
          <p:nvPr/>
        </p:nvGraphicFramePr>
        <p:xfrm>
          <a:off x="214138" y="1208846"/>
          <a:ext cx="8775590" cy="1828800"/>
        </p:xfrm>
        <a:graphic>
          <a:graphicData uri="http://schemas.openxmlformats.org/drawingml/2006/table">
            <a:tbl>
              <a:tblPr firstRow="1" bandRow="1">
                <a:tableStyleId>{5940675A-B579-460E-94D1-54222C63F5DA}</a:tableStyleId>
              </a:tblPr>
              <a:tblGrid>
                <a:gridCol w="8270406">
                  <a:extLst>
                    <a:ext uri="{9D8B030D-6E8A-4147-A177-3AD203B41FA5}">
                      <a16:colId xmlns:a16="http://schemas.microsoft.com/office/drawing/2014/main" val="20000"/>
                    </a:ext>
                  </a:extLst>
                </a:gridCol>
                <a:gridCol w="505184">
                  <a:extLst>
                    <a:ext uri="{9D8B030D-6E8A-4147-A177-3AD203B41FA5}">
                      <a16:colId xmlns:a16="http://schemas.microsoft.com/office/drawing/2014/main" val="20001"/>
                    </a:ext>
                  </a:extLst>
                </a:gridCol>
              </a:tblGrid>
              <a:tr h="238929">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合同審査評価ポイント</a:t>
                      </a:r>
                    </a:p>
                  </a:txBody>
                  <a:tcPr>
                    <a:solidFill>
                      <a:schemeClr val="bg1">
                        <a:lumMod val="85000"/>
                      </a:schemeClr>
                    </a:solidFill>
                  </a:tcPr>
                </a:tc>
                <a:tc>
                  <a:txBody>
                    <a:bodyPr/>
                    <a:lstStyle/>
                    <a:p>
                      <a:pPr algn="ctr"/>
                      <a:r>
                        <a:rPr kumimoji="1" lang="ja-JP" altLang="en-US" sz="1200">
                          <a:latin typeface="Meiryo UI" panose="020B0604030504040204" pitchFamily="50" charset="-128"/>
                          <a:ea typeface="Meiryo UI" panose="020B0604030504040204" pitchFamily="50" charset="-128"/>
                        </a:rPr>
                        <a:t>〇</a:t>
                      </a:r>
                    </a:p>
                  </a:txBody>
                  <a:tcPr>
                    <a:solidFill>
                      <a:schemeClr val="bg1">
                        <a:lumMod val="85000"/>
                      </a:schemeClr>
                    </a:solidFill>
                  </a:tcPr>
                </a:tc>
                <a:extLst>
                  <a:ext uri="{0D108BD9-81ED-4DB2-BD59-A6C34878D82A}">
                    <a16:rowId xmlns:a16="http://schemas.microsoft.com/office/drawing/2014/main" val="10000"/>
                  </a:ext>
                </a:extLst>
              </a:tr>
              <a:tr h="238929">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①新規性、先進性があり、かつ、将来の横展開・本格普及にふさわしい案件</a:t>
                      </a:r>
                    </a:p>
                  </a:txBody>
                  <a:tcPr/>
                </a:tc>
                <a:tc>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0002"/>
                  </a:ext>
                </a:extLst>
              </a:tr>
              <a:tr h="238929">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②効果的な施策間連携がされている、又は連携予定の案件</a:t>
                      </a:r>
                    </a:p>
                  </a:txBody>
                  <a:tcPr/>
                </a:tc>
                <a:tc>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0003"/>
                  </a:ext>
                </a:extLst>
              </a:tr>
              <a:tr h="238929">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③効果的な地域間連携がされている、又は連携予定の案件</a:t>
                      </a:r>
                    </a:p>
                  </a:txBody>
                  <a:tcPr/>
                </a:tc>
                <a:tc>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063819935"/>
                  </a:ext>
                </a:extLst>
              </a:tr>
              <a:tr h="273600">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④データ連携基盤（都市</a:t>
                      </a:r>
                      <a:r>
                        <a:rPr kumimoji="1" lang="en-US" altLang="ja-JP" sz="1200">
                          <a:solidFill>
                            <a:schemeClr val="tx1"/>
                          </a:solidFill>
                          <a:latin typeface="Meiryo UI" panose="020B0604030504040204" pitchFamily="50" charset="-128"/>
                          <a:ea typeface="Meiryo UI" panose="020B0604030504040204" pitchFamily="50" charset="-128"/>
                        </a:rPr>
                        <a:t>OS</a:t>
                      </a:r>
                      <a:r>
                        <a:rPr kumimoji="1" lang="ja-JP" altLang="en-US" sz="1200">
                          <a:solidFill>
                            <a:schemeClr val="tx1"/>
                          </a:solidFill>
                          <a:latin typeface="Meiryo UI" panose="020B0604030504040204" pitchFamily="50" charset="-128"/>
                          <a:ea typeface="Meiryo UI" panose="020B0604030504040204" pitchFamily="50" charset="-128"/>
                        </a:rPr>
                        <a:t>等）を構築している案件、又は構築予定の案件</a:t>
                      </a:r>
                    </a:p>
                  </a:txBody>
                  <a:tcPr/>
                </a:tc>
                <a:tc>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0004"/>
                  </a:ext>
                </a:extLst>
              </a:tr>
              <a:tr h="238929">
                <a:tc>
                  <a:txBody>
                    <a:bodyPr/>
                    <a:lstStyle/>
                    <a:p>
                      <a:r>
                        <a:rPr kumimoji="1" lang="ja-JP" altLang="en-US" sz="1200">
                          <a:solidFill>
                            <a:schemeClr val="tx1"/>
                          </a:solidFill>
                          <a:latin typeface="Meiryo UI"/>
                          <a:ea typeface="Meiryo UI"/>
                        </a:rPr>
                        <a:t>⑤作成する</a:t>
                      </a:r>
                      <a:r>
                        <a:rPr kumimoji="1" lang="en-US" altLang="ja-JP" sz="1200">
                          <a:solidFill>
                            <a:schemeClr val="tx1"/>
                          </a:solidFill>
                          <a:latin typeface="Meiryo UI"/>
                          <a:ea typeface="Meiryo UI"/>
                        </a:rPr>
                        <a:t>API</a:t>
                      </a:r>
                      <a:r>
                        <a:rPr kumimoji="1" lang="ja-JP" altLang="en-US" sz="1200">
                          <a:solidFill>
                            <a:schemeClr val="tx1"/>
                          </a:solidFill>
                          <a:latin typeface="Meiryo UI"/>
                          <a:ea typeface="Meiryo UI"/>
                        </a:rPr>
                        <a:t>を公開又は公開予定の案件（応募者が</a:t>
                      </a:r>
                      <a:r>
                        <a:rPr kumimoji="1" lang="en-US" altLang="ja-JP" sz="1200">
                          <a:solidFill>
                            <a:schemeClr val="tx1"/>
                          </a:solidFill>
                          <a:latin typeface="Meiryo UI"/>
                          <a:ea typeface="Meiryo UI"/>
                        </a:rPr>
                        <a:t>HP</a:t>
                      </a:r>
                      <a:r>
                        <a:rPr kumimoji="1" lang="ja-JP" altLang="en-US" sz="1200">
                          <a:solidFill>
                            <a:schemeClr val="tx1"/>
                          </a:solidFill>
                          <a:latin typeface="Meiryo UI"/>
                          <a:ea typeface="Meiryo UI"/>
                        </a:rPr>
                        <a:t>に</a:t>
                      </a:r>
                      <a:r>
                        <a:rPr kumimoji="1" lang="en-US" altLang="ja-JP" sz="1200">
                          <a:solidFill>
                            <a:schemeClr val="tx1"/>
                          </a:solidFill>
                          <a:latin typeface="Meiryo UI"/>
                          <a:ea typeface="Meiryo UI"/>
                        </a:rPr>
                        <a:t>API</a:t>
                      </a:r>
                      <a:r>
                        <a:rPr kumimoji="1" lang="ja-JP" altLang="en-US" sz="1200">
                          <a:solidFill>
                            <a:schemeClr val="tx1"/>
                          </a:solidFill>
                          <a:latin typeface="Meiryo UI"/>
                          <a:ea typeface="Meiryo UI"/>
                        </a:rPr>
                        <a:t>を公開すると供に、スマートシティ官民連携プラットフォームサイト上にその</a:t>
                      </a:r>
                      <a:r>
                        <a:rPr kumimoji="1" lang="en-US" altLang="ja-JP" sz="1200">
                          <a:solidFill>
                            <a:schemeClr val="tx1"/>
                          </a:solidFill>
                          <a:latin typeface="Meiryo UI"/>
                          <a:ea typeface="Meiryo UI"/>
                        </a:rPr>
                        <a:t>URL</a:t>
                      </a:r>
                      <a:r>
                        <a:rPr kumimoji="1" lang="ja-JP" altLang="en-US" sz="1200">
                          <a:solidFill>
                            <a:schemeClr val="tx1"/>
                          </a:solidFill>
                          <a:latin typeface="Meiryo UI"/>
                          <a:ea typeface="Meiryo UI"/>
                        </a:rPr>
                        <a:t>を公開すること）</a:t>
                      </a:r>
                    </a:p>
                  </a:txBody>
                  <a:tcPr/>
                </a:tc>
                <a:tc>
                  <a:txBody>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0006"/>
                  </a:ext>
                </a:extLst>
              </a:tr>
            </a:tbl>
          </a:graphicData>
        </a:graphic>
      </p:graphicFrame>
      <p:sp>
        <p:nvSpPr>
          <p:cNvPr id="2" name="テキスト ボックス 1">
            <a:extLst>
              <a:ext uri="{FF2B5EF4-FFF2-40B4-BE49-F238E27FC236}">
                <a16:creationId xmlns:a16="http://schemas.microsoft.com/office/drawing/2014/main" id="{EFB42B09-46F3-C1BD-DDA9-2CA72E47795B}"/>
              </a:ext>
            </a:extLst>
          </p:cNvPr>
          <p:cNvSpPr txBox="1"/>
          <p:nvPr/>
        </p:nvSpPr>
        <p:spPr>
          <a:xfrm>
            <a:off x="-119324" y="3157878"/>
            <a:ext cx="8939796" cy="307777"/>
          </a:xfrm>
          <a:prstGeom prst="rect">
            <a:avLst/>
          </a:prstGeom>
          <a:noFill/>
        </p:spPr>
        <p:txBody>
          <a:bodyPr wrap="square" rtlCol="0">
            <a:spAutoFit/>
          </a:bodyPr>
          <a:lstStyle/>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２）</a:t>
            </a:r>
            <a:r>
              <a:rPr kumimoji="1" lang="ja-JP" altLang="en-US"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関連する国の支援事業の採択実績　</a:t>
            </a:r>
            <a:r>
              <a:rPr kumimoji="1" lang="ja-JP" altLang="en-US" sz="1400" b="1" i="1"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該当する国の支援事業がない場合は記入不要</a:t>
            </a:r>
            <a:endParaRPr kumimoji="1" lang="en-US" altLang="ja-JP" sz="1400" b="1" i="1"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4" name="表 12">
            <a:extLst>
              <a:ext uri="{FF2B5EF4-FFF2-40B4-BE49-F238E27FC236}">
                <a16:creationId xmlns:a16="http://schemas.microsoft.com/office/drawing/2014/main" id="{E29CFFC7-A244-3C06-2BA3-9B3747F77F90}"/>
              </a:ext>
            </a:extLst>
          </p:cNvPr>
          <p:cNvGraphicFramePr>
            <a:graphicFrameLocks noGrp="1"/>
          </p:cNvGraphicFramePr>
          <p:nvPr/>
        </p:nvGraphicFramePr>
        <p:xfrm>
          <a:off x="214138" y="3585887"/>
          <a:ext cx="8775590" cy="1097280"/>
        </p:xfrm>
        <a:graphic>
          <a:graphicData uri="http://schemas.openxmlformats.org/drawingml/2006/table">
            <a:tbl>
              <a:tblPr firstRow="1" bandRow="1">
                <a:tableStyleId>{5940675A-B579-460E-94D1-54222C63F5DA}</a:tableStyleId>
              </a:tblPr>
              <a:tblGrid>
                <a:gridCol w="3421758">
                  <a:extLst>
                    <a:ext uri="{9D8B030D-6E8A-4147-A177-3AD203B41FA5}">
                      <a16:colId xmlns:a16="http://schemas.microsoft.com/office/drawing/2014/main" val="20000"/>
                    </a:ext>
                  </a:extLst>
                </a:gridCol>
                <a:gridCol w="2118165">
                  <a:extLst>
                    <a:ext uri="{9D8B030D-6E8A-4147-A177-3AD203B41FA5}">
                      <a16:colId xmlns:a16="http://schemas.microsoft.com/office/drawing/2014/main" val="2909948701"/>
                    </a:ext>
                  </a:extLst>
                </a:gridCol>
                <a:gridCol w="1008112">
                  <a:extLst>
                    <a:ext uri="{9D8B030D-6E8A-4147-A177-3AD203B41FA5}">
                      <a16:colId xmlns:a16="http://schemas.microsoft.com/office/drawing/2014/main" val="149445225"/>
                    </a:ext>
                  </a:extLst>
                </a:gridCol>
                <a:gridCol w="2227555">
                  <a:extLst>
                    <a:ext uri="{9D8B030D-6E8A-4147-A177-3AD203B41FA5}">
                      <a16:colId xmlns:a16="http://schemas.microsoft.com/office/drawing/2014/main" val="20001"/>
                    </a:ext>
                  </a:extLst>
                </a:gridCol>
              </a:tblGrid>
              <a:tr h="238929">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国の支援事業の名称</a:t>
                      </a:r>
                    </a:p>
                  </a:txBody>
                  <a:tcPr>
                    <a:solidFill>
                      <a:schemeClr val="bg1">
                        <a:lumMod val="85000"/>
                      </a:schemeClr>
                    </a:solidFill>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所管省庁等</a:t>
                      </a:r>
                    </a:p>
                  </a:txBody>
                  <a:tcPr>
                    <a:solidFill>
                      <a:schemeClr val="bg1">
                        <a:lumMod val="85000"/>
                      </a:schemeClr>
                    </a:solidFill>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申請者</a:t>
                      </a:r>
                    </a:p>
                  </a:txBody>
                  <a:tcPr>
                    <a:solidFill>
                      <a:schemeClr val="bg1">
                        <a:lumMod val="85000"/>
                      </a:schemeClr>
                    </a:solidFill>
                  </a:tcPr>
                </a:tc>
                <a:tc>
                  <a:txBody>
                    <a:bodyPr/>
                    <a:lstStyle/>
                    <a:p>
                      <a:pPr algn="ctr"/>
                      <a:r>
                        <a:rPr kumimoji="1" lang="ja-JP" altLang="en-US" sz="1200">
                          <a:latin typeface="Meiryo UI" panose="020B0604030504040204" pitchFamily="50" charset="-128"/>
                          <a:ea typeface="Meiryo UI" panose="020B0604030504040204" pitchFamily="50" charset="-128"/>
                        </a:rPr>
                        <a:t>採択年度</a:t>
                      </a:r>
                    </a:p>
                  </a:txBody>
                  <a:tcPr>
                    <a:solidFill>
                      <a:schemeClr val="bg1">
                        <a:lumMod val="85000"/>
                      </a:schemeClr>
                    </a:solidFill>
                  </a:tcPr>
                </a:tc>
                <a:extLst>
                  <a:ext uri="{0D108BD9-81ED-4DB2-BD59-A6C34878D82A}">
                    <a16:rowId xmlns:a16="http://schemas.microsoft.com/office/drawing/2014/main" val="10000"/>
                  </a:ext>
                </a:extLst>
              </a:tr>
              <a:tr h="238929">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pPr algn="l"/>
                      <a:endParaRPr kumimoji="1" lang="ja-JP" altLang="en-US" sz="120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238929">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pPr algn="l"/>
                      <a:endParaRPr kumimoji="1" lang="ja-JP" altLang="en-US" sz="120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4067295386"/>
                  </a:ext>
                </a:extLst>
              </a:tr>
              <a:tr h="238929">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pPr algn="l"/>
                      <a:endParaRPr kumimoji="1" lang="ja-JP" altLang="en-US" sz="120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bl>
          </a:graphicData>
        </a:graphic>
      </p:graphicFrame>
      <p:sp>
        <p:nvSpPr>
          <p:cNvPr id="3" name="テキスト ボックス 2">
            <a:extLst>
              <a:ext uri="{FF2B5EF4-FFF2-40B4-BE49-F238E27FC236}">
                <a16:creationId xmlns:a16="http://schemas.microsoft.com/office/drawing/2014/main" id="{D481B9F8-4D28-F9FE-085B-63343B16A20B}"/>
              </a:ext>
            </a:extLst>
          </p:cNvPr>
          <p:cNvSpPr txBox="1"/>
          <p:nvPr/>
        </p:nvSpPr>
        <p:spPr>
          <a:xfrm>
            <a:off x="132035" y="4683167"/>
            <a:ext cx="8939796" cy="175432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0" i="0"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以下の記載要領は申請時に削除可）</a:t>
            </a:r>
            <a:endParaRPr kumimoji="1" lang="en-US" altLang="ja-JP" sz="1400" b="0" i="0"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endParaRP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評価ポイント②（施策間連携）及び③（地域間連携）に該当し、かつ、国の支援事業と連携を図る場合に、当該支援事業について記載する（加点の際の参考情報として活用する）。「国の支援事業」とは、様式「２．スマートシティ関連事業への応募状況」における５事業以外の事業とし、国の交付金、補助金、委託費等によるものとする（本事業の申請者以外の者が申請したものを含む）。　</a:t>
            </a:r>
            <a:endParaRPr kumimoji="1" lang="en-US" altLang="ja-JP" sz="1400" b="0" i="0"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endParaRP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1" lang="ja-JP" altLang="en-US" sz="1400" b="0" i="0"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併せて、次ページ「（３）合同審査評価ポイントを満たしている理由」に、これらの国の支援事業がどのように施策間連携や地域間連携に関わっているのかを記載する。</a:t>
            </a:r>
            <a:endParaRPr kumimoji="1" lang="en-US" altLang="ja-JP" sz="1400" b="0" i="0"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26458821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４．合同審査評価ポイントへの該当性　</a:t>
            </a:r>
            <a:r>
              <a:rPr kumimoji="1" lang="en-US" altLang="ja-JP" sz="2400" b="1" i="0" u="none" strike="noStrike" kern="1200" cap="none" spc="0" normalizeH="0" baseline="0" noProof="0">
                <a:ln>
                  <a:noFill/>
                </a:ln>
                <a:solidFill>
                  <a:srgbClr val="FFFFFF"/>
                </a:solidFill>
                <a:effectLst/>
                <a:uLnTx/>
                <a:uFillTx/>
                <a:latin typeface="ＭＳ Ｐゴシック"/>
                <a:ea typeface="ＭＳ Ｐゴシック"/>
                <a:cs typeface="+mn-cs"/>
              </a:rPr>
              <a:t>【</a:t>
            </a: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申請者名</a:t>
            </a:r>
            <a:r>
              <a:rPr kumimoji="1" lang="en-US" altLang="ja-JP" sz="2400" b="1" i="0" u="none" strike="noStrike" kern="1200" cap="none" spc="0" normalizeH="0" baseline="0" noProof="0">
                <a:ln>
                  <a:noFill/>
                </a:ln>
                <a:solidFill>
                  <a:srgbClr val="FFFFFF"/>
                </a:solidFill>
                <a:effectLst/>
                <a:uLnTx/>
                <a:uFillTx/>
                <a:latin typeface="ＭＳ Ｐゴシック"/>
                <a:ea typeface="ＭＳ Ｐゴシック"/>
                <a:cs typeface="+mn-cs"/>
              </a:rPr>
              <a:t>】</a:t>
            </a:r>
            <a:endPar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A1264516-8899-442B-8DBF-9D5455FF797E}"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5</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3" name="テキスト ボックス 1"/>
          <p:cNvSpPr txBox="1"/>
          <p:nvPr/>
        </p:nvSpPr>
        <p:spPr>
          <a:xfrm>
            <a:off x="-180528" y="608682"/>
            <a:ext cx="8496944" cy="307777"/>
          </a:xfrm>
          <a:prstGeom prst="rect">
            <a:avLst/>
          </a:prstGeom>
          <a:noFill/>
        </p:spPr>
        <p:txBody>
          <a:bodyPr wrap="square" rtlCol="0">
            <a:spAutoFit/>
          </a:bodyPr>
          <a:lstStyle/>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合同審査評価ポイントを満たしている理由</a:t>
            </a:r>
            <a:endParaRPr kumimoji="1" lang="en-US" altLang="ja-JP"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Rectangle 66"/>
          <p:cNvSpPr>
            <a:spLocks noChangeArrowheads="1"/>
          </p:cNvSpPr>
          <p:nvPr/>
        </p:nvSpPr>
        <p:spPr>
          <a:xfrm>
            <a:off x="102102" y="977551"/>
            <a:ext cx="8939796" cy="5520442"/>
          </a:xfrm>
          <a:prstGeom prst="rect">
            <a:avLst/>
          </a:prstGeom>
          <a:noFill/>
          <a:ln w="28575">
            <a:solidFill>
              <a:schemeClr val="tx1"/>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合同審査評価ポイントを満たしている理由を簡潔に記載</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記載欄が不足する場合はスライドを複写して最大２頁まで記載可、①～⑤の項目に対応して記載し、該当のない項目については記載不要</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①どのような点に新規性、先進性があり、また、横展開や本格普及にふさわしい事業であると考える理由を記載</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②連携する施策（分野）とともに、連携した取組により、例えば早期の目的の達成、コスト削減、職員の効率的な配置が可能となるなどの効果を記載</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③ 市町村を超えた地域間において連携している場合にその内容を記載（受益対象地域が複数市町村にまたがる場合や、他市町村のデータを活用する場合等を想定）</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④都市</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に該当する場合は、３特徴（相互運用性、データ流通、拡張容易性（ビルディングブロック））を満たしていることを示すこと。また、</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p</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９の「都市</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の様式を必ず埋めること。</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⑤既にＡＰＩを公開している場合は、</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PI</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を公開していることが確認できるウェブページの</a:t>
            </a: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URL</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を記載、今後予定している場合は、公開時期を併せて記載</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2424912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４．合同審査評価ポイントへの該当性　</a:t>
            </a:r>
            <a:r>
              <a:rPr kumimoji="1" lang="en-US" altLang="ja-JP" sz="2400" b="1" i="0" u="none" strike="noStrike" kern="1200" cap="none" spc="0" normalizeH="0" baseline="0" noProof="0">
                <a:ln>
                  <a:noFill/>
                </a:ln>
                <a:solidFill>
                  <a:srgbClr val="FFFFFF"/>
                </a:solidFill>
                <a:effectLst/>
                <a:uLnTx/>
                <a:uFillTx/>
                <a:latin typeface="ＭＳ Ｐゴシック"/>
                <a:ea typeface="ＭＳ Ｐゴシック"/>
                <a:cs typeface="+mn-cs"/>
              </a:rPr>
              <a:t>【</a:t>
            </a: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申請者名</a:t>
            </a:r>
            <a:r>
              <a:rPr kumimoji="1" lang="en-US" altLang="ja-JP" sz="2400" b="1" i="0" u="none" strike="noStrike" kern="1200" cap="none" spc="0" normalizeH="0" baseline="0" noProof="0">
                <a:ln>
                  <a:noFill/>
                </a:ln>
                <a:solidFill>
                  <a:srgbClr val="FFFFFF"/>
                </a:solidFill>
                <a:effectLst/>
                <a:uLnTx/>
                <a:uFillTx/>
                <a:latin typeface="ＭＳ Ｐゴシック"/>
                <a:ea typeface="ＭＳ Ｐゴシック"/>
                <a:cs typeface="+mn-cs"/>
              </a:rPr>
              <a:t>】</a:t>
            </a:r>
            <a:endPar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A1264516-8899-442B-8DBF-9D5455FF797E}"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6</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3" name="テキスト ボックス 1"/>
          <p:cNvSpPr txBox="1"/>
          <p:nvPr/>
        </p:nvSpPr>
        <p:spPr>
          <a:xfrm>
            <a:off x="-139072" y="966291"/>
            <a:ext cx="8496944" cy="600164"/>
          </a:xfrm>
          <a:prstGeom prst="rect">
            <a:avLst/>
          </a:prstGeom>
          <a:noFill/>
        </p:spPr>
        <p:txBody>
          <a:bodyPr wrap="square" rtlCol="0">
            <a:spAutoFit/>
          </a:bodyPr>
          <a:lstStyle/>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合同審査評価ポイントへの該当性</a:t>
            </a:r>
            <a:endParaRPr kumimoji="1" lang="en-US" altLang="ja-JP"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事業毎の評価基準のほか、合同審査会では以下のポイントを評価する。</a:t>
            </a:r>
            <a:r>
              <a:rPr kumimoji="1" lang="ja-JP" altLang="en-US" sz="1400" b="1" i="1"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該当する項目に〇をつけること。</a:t>
            </a:r>
          </a:p>
        </p:txBody>
      </p:sp>
      <p:graphicFrame>
        <p:nvGraphicFramePr>
          <p:cNvPr id="14" name="表 12"/>
          <p:cNvGraphicFramePr>
            <a:graphicFrameLocks noGrp="1"/>
          </p:cNvGraphicFramePr>
          <p:nvPr/>
        </p:nvGraphicFramePr>
        <p:xfrm>
          <a:off x="214138" y="1610863"/>
          <a:ext cx="8775590" cy="1828800"/>
        </p:xfrm>
        <a:graphic>
          <a:graphicData uri="http://schemas.openxmlformats.org/drawingml/2006/table">
            <a:tbl>
              <a:tblPr firstRow="1" bandRow="1">
                <a:tableStyleId>{5940675A-B579-460E-94D1-54222C63F5DA}</a:tableStyleId>
              </a:tblPr>
              <a:tblGrid>
                <a:gridCol w="8270406">
                  <a:extLst>
                    <a:ext uri="{9D8B030D-6E8A-4147-A177-3AD203B41FA5}">
                      <a16:colId xmlns:a16="http://schemas.microsoft.com/office/drawing/2014/main" val="20000"/>
                    </a:ext>
                  </a:extLst>
                </a:gridCol>
                <a:gridCol w="505184">
                  <a:extLst>
                    <a:ext uri="{9D8B030D-6E8A-4147-A177-3AD203B41FA5}">
                      <a16:colId xmlns:a16="http://schemas.microsoft.com/office/drawing/2014/main" val="20001"/>
                    </a:ext>
                  </a:extLst>
                </a:gridCol>
              </a:tblGrid>
              <a:tr h="238929">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合同審査評価ポイント</a:t>
                      </a:r>
                    </a:p>
                  </a:txBody>
                  <a:tcPr>
                    <a:solidFill>
                      <a:schemeClr val="bg1">
                        <a:lumMod val="85000"/>
                      </a:schemeClr>
                    </a:solidFill>
                  </a:tcPr>
                </a:tc>
                <a:tc>
                  <a:txBody>
                    <a:bodyPr/>
                    <a:lstStyle/>
                    <a:p>
                      <a:pPr algn="ctr"/>
                      <a:r>
                        <a:rPr kumimoji="1" lang="ja-JP" altLang="en-US" sz="1200">
                          <a:latin typeface="Meiryo UI" panose="020B0604030504040204" pitchFamily="50" charset="-128"/>
                          <a:ea typeface="Meiryo UI" panose="020B0604030504040204" pitchFamily="50" charset="-128"/>
                        </a:rPr>
                        <a:t>○</a:t>
                      </a:r>
                    </a:p>
                  </a:txBody>
                  <a:tcPr>
                    <a:solidFill>
                      <a:schemeClr val="bg1">
                        <a:lumMod val="85000"/>
                      </a:schemeClr>
                    </a:solidFill>
                  </a:tcPr>
                </a:tc>
                <a:extLst>
                  <a:ext uri="{0D108BD9-81ED-4DB2-BD59-A6C34878D82A}">
                    <a16:rowId xmlns:a16="http://schemas.microsoft.com/office/drawing/2014/main" val="10000"/>
                  </a:ext>
                </a:extLst>
              </a:tr>
              <a:tr h="238929">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①新規性、先進性があり、かつ、将来の横展開・本格普及にふさわしい案件</a:t>
                      </a:r>
                    </a:p>
                  </a:txBody>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a:t>
                      </a:r>
                    </a:p>
                  </a:txBody>
                  <a:tcPr anchor="ctr"/>
                </a:tc>
                <a:extLst>
                  <a:ext uri="{0D108BD9-81ED-4DB2-BD59-A6C34878D82A}">
                    <a16:rowId xmlns:a16="http://schemas.microsoft.com/office/drawing/2014/main" val="10002"/>
                  </a:ext>
                </a:extLst>
              </a:tr>
              <a:tr h="238929">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②効果的な施策間連携がされている、又は連携予定の案件</a:t>
                      </a:r>
                    </a:p>
                  </a:txBody>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a:t>
                      </a:r>
                    </a:p>
                  </a:txBody>
                  <a:tcPr anchor="ctr"/>
                </a:tc>
                <a:extLst>
                  <a:ext uri="{0D108BD9-81ED-4DB2-BD59-A6C34878D82A}">
                    <a16:rowId xmlns:a16="http://schemas.microsoft.com/office/drawing/2014/main" val="10003"/>
                  </a:ext>
                </a:extLst>
              </a:tr>
              <a:tr h="238929">
                <a:tc>
                  <a:txBody>
                    <a:bodyPr/>
                    <a:lstStyle/>
                    <a:p>
                      <a:r>
                        <a:rPr kumimoji="1" lang="ja-JP" altLang="en-US" sz="1200">
                          <a:solidFill>
                            <a:schemeClr val="tx1"/>
                          </a:solidFill>
                          <a:latin typeface="Meiryo UI" panose="020B0604030504040204" pitchFamily="50" charset="-128"/>
                          <a:ea typeface="Meiryo UI" panose="020B0604030504040204" pitchFamily="50" charset="-128"/>
                        </a:rPr>
                        <a:t>③効果的な地域間連携がされている、又は連携予定の案件</a:t>
                      </a:r>
                    </a:p>
                  </a:txBody>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a:t>
                      </a:r>
                    </a:p>
                  </a:txBody>
                  <a:tcPr anchor="ctr"/>
                </a:tc>
                <a:extLst>
                  <a:ext uri="{0D108BD9-81ED-4DB2-BD59-A6C34878D82A}">
                    <a16:rowId xmlns:a16="http://schemas.microsoft.com/office/drawing/2014/main" val="2063819935"/>
                  </a:ext>
                </a:extLst>
              </a:tr>
              <a:tr h="273600">
                <a:tc>
                  <a:txBody>
                    <a:bodyPr/>
                    <a:lstStyle/>
                    <a:p>
                      <a:r>
                        <a:rPr kumimoji="1" lang="ja-JP" altLang="en-US" sz="1200">
                          <a:solidFill>
                            <a:schemeClr val="tx1"/>
                          </a:solidFill>
                          <a:latin typeface="Meiryo UI"/>
                          <a:ea typeface="Meiryo UI"/>
                        </a:rPr>
                        <a:t>④データ連携基盤（都市</a:t>
                      </a:r>
                      <a:r>
                        <a:rPr kumimoji="1" lang="en-US" altLang="ja-JP" sz="1200">
                          <a:solidFill>
                            <a:schemeClr val="tx1"/>
                          </a:solidFill>
                          <a:latin typeface="Meiryo UI"/>
                          <a:ea typeface="Meiryo UI"/>
                        </a:rPr>
                        <a:t>OS</a:t>
                      </a:r>
                      <a:r>
                        <a:rPr kumimoji="1" lang="ja-JP" altLang="en-US" sz="1200">
                          <a:solidFill>
                            <a:schemeClr val="tx1"/>
                          </a:solidFill>
                          <a:latin typeface="Meiryo UI"/>
                          <a:ea typeface="Meiryo UI"/>
                        </a:rPr>
                        <a:t>等）を構築している案件、又は構築予定の案件</a:t>
                      </a:r>
                    </a:p>
                  </a:txBody>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a:t>
                      </a:r>
                    </a:p>
                  </a:txBody>
                  <a:tcPr anchor="ctr"/>
                </a:tc>
                <a:extLst>
                  <a:ext uri="{0D108BD9-81ED-4DB2-BD59-A6C34878D82A}">
                    <a16:rowId xmlns:a16="http://schemas.microsoft.com/office/drawing/2014/main" val="10004"/>
                  </a:ext>
                </a:extLst>
              </a:tr>
              <a:tr h="238929">
                <a:tc>
                  <a:txBody>
                    <a:bodyPr/>
                    <a:lstStyle/>
                    <a:p>
                      <a:r>
                        <a:rPr kumimoji="1" lang="ja-JP" altLang="en-US" sz="1200">
                          <a:solidFill>
                            <a:schemeClr val="tx1"/>
                          </a:solidFill>
                          <a:latin typeface="Meiryo UI"/>
                          <a:ea typeface="Meiryo UI"/>
                        </a:rPr>
                        <a:t>⑤作成する</a:t>
                      </a:r>
                      <a:r>
                        <a:rPr kumimoji="1" lang="en-US" altLang="ja-JP" sz="1200">
                          <a:solidFill>
                            <a:schemeClr val="tx1"/>
                          </a:solidFill>
                          <a:latin typeface="Meiryo UI"/>
                          <a:ea typeface="Meiryo UI"/>
                        </a:rPr>
                        <a:t>API</a:t>
                      </a:r>
                      <a:r>
                        <a:rPr kumimoji="1" lang="ja-JP" altLang="en-US" sz="1200">
                          <a:solidFill>
                            <a:schemeClr val="tx1"/>
                          </a:solidFill>
                          <a:latin typeface="Meiryo UI"/>
                          <a:ea typeface="Meiryo UI"/>
                        </a:rPr>
                        <a:t>を公開又は公開予定の案件（応募者が</a:t>
                      </a:r>
                      <a:r>
                        <a:rPr kumimoji="1" lang="en-US" altLang="ja-JP" sz="1200">
                          <a:solidFill>
                            <a:schemeClr val="tx1"/>
                          </a:solidFill>
                          <a:latin typeface="Meiryo UI"/>
                          <a:ea typeface="Meiryo UI"/>
                        </a:rPr>
                        <a:t>HP</a:t>
                      </a:r>
                      <a:r>
                        <a:rPr kumimoji="1" lang="ja-JP" altLang="en-US" sz="1200">
                          <a:solidFill>
                            <a:schemeClr val="tx1"/>
                          </a:solidFill>
                          <a:latin typeface="Meiryo UI"/>
                          <a:ea typeface="Meiryo UI"/>
                        </a:rPr>
                        <a:t>に</a:t>
                      </a:r>
                      <a:r>
                        <a:rPr kumimoji="1" lang="en-US" altLang="ja-JP" sz="1200">
                          <a:solidFill>
                            <a:schemeClr val="tx1"/>
                          </a:solidFill>
                          <a:latin typeface="Meiryo UI"/>
                          <a:ea typeface="Meiryo UI"/>
                        </a:rPr>
                        <a:t>API</a:t>
                      </a:r>
                      <a:r>
                        <a:rPr kumimoji="1" lang="ja-JP" altLang="en-US" sz="1200">
                          <a:solidFill>
                            <a:schemeClr val="tx1"/>
                          </a:solidFill>
                          <a:latin typeface="Meiryo UI"/>
                          <a:ea typeface="Meiryo UI"/>
                        </a:rPr>
                        <a:t>を公開すると供に、スマートシティ官民連携プラットフォームサイト上にその</a:t>
                      </a:r>
                      <a:r>
                        <a:rPr kumimoji="1" lang="en-US" altLang="ja-JP" sz="1200">
                          <a:solidFill>
                            <a:schemeClr val="tx1"/>
                          </a:solidFill>
                          <a:latin typeface="Meiryo UI"/>
                          <a:ea typeface="Meiryo UI"/>
                        </a:rPr>
                        <a:t>URL</a:t>
                      </a:r>
                      <a:r>
                        <a:rPr kumimoji="1" lang="ja-JP" altLang="en-US" sz="1200">
                          <a:solidFill>
                            <a:schemeClr val="tx1"/>
                          </a:solidFill>
                          <a:latin typeface="Meiryo UI"/>
                          <a:ea typeface="Meiryo UI"/>
                        </a:rPr>
                        <a:t>を公開すること）</a:t>
                      </a:r>
                    </a:p>
                  </a:txBody>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a:t>
                      </a:r>
                    </a:p>
                  </a:txBody>
                  <a:tcPr anchor="ctr"/>
                </a:tc>
                <a:extLst>
                  <a:ext uri="{0D108BD9-81ED-4DB2-BD59-A6C34878D82A}">
                    <a16:rowId xmlns:a16="http://schemas.microsoft.com/office/drawing/2014/main" val="10006"/>
                  </a:ext>
                </a:extLst>
              </a:tr>
            </a:tbl>
          </a:graphicData>
        </a:graphic>
      </p:graphicFrame>
      <p:sp>
        <p:nvSpPr>
          <p:cNvPr id="2" name="テキスト ボックス 1">
            <a:extLst>
              <a:ext uri="{FF2B5EF4-FFF2-40B4-BE49-F238E27FC236}">
                <a16:creationId xmlns:a16="http://schemas.microsoft.com/office/drawing/2014/main" id="{EFB42B09-46F3-C1BD-DDA9-2CA72E47795B}"/>
              </a:ext>
            </a:extLst>
          </p:cNvPr>
          <p:cNvSpPr txBox="1"/>
          <p:nvPr/>
        </p:nvSpPr>
        <p:spPr>
          <a:xfrm>
            <a:off x="-119324" y="3559895"/>
            <a:ext cx="8939796" cy="307777"/>
          </a:xfrm>
          <a:prstGeom prst="rect">
            <a:avLst/>
          </a:prstGeom>
          <a:noFill/>
        </p:spPr>
        <p:txBody>
          <a:bodyPr wrap="square" rtlCol="0">
            <a:spAutoFit/>
          </a:bodyPr>
          <a:lstStyle/>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関連する国の支援事業の採択実績　</a:t>
            </a:r>
            <a:r>
              <a:rPr kumimoji="1" lang="ja-JP" altLang="en-US" sz="1400" b="1" i="1"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該当する国の支援事業がない場合は記入不要</a:t>
            </a:r>
            <a:endParaRPr kumimoji="1" lang="en-US" altLang="ja-JP" sz="1400" b="1" i="1" u="none" strike="noStrike" kern="1200" cap="none" spc="0" normalizeH="0" baseline="0" noProof="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4" name="表 12">
            <a:extLst>
              <a:ext uri="{FF2B5EF4-FFF2-40B4-BE49-F238E27FC236}">
                <a16:creationId xmlns:a16="http://schemas.microsoft.com/office/drawing/2014/main" id="{E29CFFC7-A244-3C06-2BA3-9B3747F77F90}"/>
              </a:ext>
            </a:extLst>
          </p:cNvPr>
          <p:cNvGraphicFramePr>
            <a:graphicFrameLocks noGrp="1"/>
          </p:cNvGraphicFramePr>
          <p:nvPr/>
        </p:nvGraphicFramePr>
        <p:xfrm>
          <a:off x="214138" y="3987904"/>
          <a:ext cx="8775590" cy="1463040"/>
        </p:xfrm>
        <a:graphic>
          <a:graphicData uri="http://schemas.openxmlformats.org/drawingml/2006/table">
            <a:tbl>
              <a:tblPr firstRow="1" bandRow="1">
                <a:tableStyleId>{5940675A-B579-460E-94D1-54222C63F5DA}</a:tableStyleId>
              </a:tblPr>
              <a:tblGrid>
                <a:gridCol w="3637782">
                  <a:extLst>
                    <a:ext uri="{9D8B030D-6E8A-4147-A177-3AD203B41FA5}">
                      <a16:colId xmlns:a16="http://schemas.microsoft.com/office/drawing/2014/main" val="20000"/>
                    </a:ext>
                  </a:extLst>
                </a:gridCol>
                <a:gridCol w="1902141">
                  <a:extLst>
                    <a:ext uri="{9D8B030D-6E8A-4147-A177-3AD203B41FA5}">
                      <a16:colId xmlns:a16="http://schemas.microsoft.com/office/drawing/2014/main" val="2909948701"/>
                    </a:ext>
                  </a:extLst>
                </a:gridCol>
                <a:gridCol w="1008112">
                  <a:extLst>
                    <a:ext uri="{9D8B030D-6E8A-4147-A177-3AD203B41FA5}">
                      <a16:colId xmlns:a16="http://schemas.microsoft.com/office/drawing/2014/main" val="946953878"/>
                    </a:ext>
                  </a:extLst>
                </a:gridCol>
                <a:gridCol w="2227555">
                  <a:extLst>
                    <a:ext uri="{9D8B030D-6E8A-4147-A177-3AD203B41FA5}">
                      <a16:colId xmlns:a16="http://schemas.microsoft.com/office/drawing/2014/main" val="20001"/>
                    </a:ext>
                  </a:extLst>
                </a:gridCol>
              </a:tblGrid>
              <a:tr h="238929">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国の支援事業の名称</a:t>
                      </a:r>
                    </a:p>
                  </a:txBody>
                  <a:tcPr>
                    <a:solidFill>
                      <a:schemeClr val="bg1">
                        <a:lumMod val="85000"/>
                      </a:schemeClr>
                    </a:solidFill>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所管省庁等</a:t>
                      </a:r>
                    </a:p>
                  </a:txBody>
                  <a:tcPr>
                    <a:solidFill>
                      <a:schemeClr val="bg1">
                        <a:lumMod val="85000"/>
                      </a:schemeClr>
                    </a:solidFill>
                  </a:tcPr>
                </a:tc>
                <a:tc>
                  <a:txBody>
                    <a:bodyPr/>
                    <a:lstStyle/>
                    <a:p>
                      <a:pPr algn="ctr"/>
                      <a:r>
                        <a:rPr kumimoji="1" lang="ja-JP" altLang="en-US" sz="1200">
                          <a:solidFill>
                            <a:schemeClr val="tx1"/>
                          </a:solidFill>
                          <a:latin typeface="Meiryo UI" panose="020B0604030504040204" pitchFamily="50" charset="-128"/>
                          <a:ea typeface="Meiryo UI" panose="020B0604030504040204" pitchFamily="50" charset="-128"/>
                        </a:rPr>
                        <a:t>申請者</a:t>
                      </a:r>
                    </a:p>
                  </a:txBody>
                  <a:tcPr>
                    <a:solidFill>
                      <a:schemeClr val="bg1">
                        <a:lumMod val="85000"/>
                      </a:schemeClr>
                    </a:solidFill>
                  </a:tcPr>
                </a:tc>
                <a:tc>
                  <a:txBody>
                    <a:bodyPr/>
                    <a:lstStyle/>
                    <a:p>
                      <a:pPr algn="ctr"/>
                      <a:r>
                        <a:rPr kumimoji="1" lang="ja-JP" altLang="en-US" sz="1200">
                          <a:latin typeface="Meiryo UI" panose="020B0604030504040204" pitchFamily="50" charset="-128"/>
                          <a:ea typeface="Meiryo UI" panose="020B0604030504040204" pitchFamily="50" charset="-128"/>
                        </a:rPr>
                        <a:t>採択年度</a:t>
                      </a:r>
                    </a:p>
                  </a:txBody>
                  <a:tcPr>
                    <a:solidFill>
                      <a:schemeClr val="bg1">
                        <a:lumMod val="85000"/>
                      </a:schemeClr>
                    </a:solidFill>
                  </a:tcPr>
                </a:tc>
                <a:extLst>
                  <a:ext uri="{0D108BD9-81ED-4DB2-BD59-A6C34878D82A}">
                    <a16:rowId xmlns:a16="http://schemas.microsoft.com/office/drawing/2014/main" val="10000"/>
                  </a:ext>
                </a:extLst>
              </a:tr>
              <a:tr h="238929">
                <a:tc>
                  <a:txBody>
                    <a:bodyPr/>
                    <a:lstStyle/>
                    <a:p>
                      <a:r>
                        <a:rPr kumimoji="1" lang="ja-JP" altLang="en-US" sz="1200" i="1">
                          <a:solidFill>
                            <a:schemeClr val="tx1"/>
                          </a:solidFill>
                          <a:latin typeface="ＭＳ ゴシック" panose="020B0609070205080204" pitchFamily="49" charset="-128"/>
                          <a:ea typeface="ＭＳ ゴシック" panose="020B0609070205080204" pitchFamily="49" charset="-128"/>
                        </a:rPr>
                        <a:t>デジタル田園都市国家構想交付金</a:t>
                      </a:r>
                      <a:r>
                        <a:rPr kumimoji="1" lang="en-US" altLang="ja-JP" sz="1200" i="1">
                          <a:solidFill>
                            <a:schemeClr val="tx1"/>
                          </a:solidFill>
                          <a:latin typeface="ＭＳ ゴシック" panose="020B0609070205080204" pitchFamily="49" charset="-128"/>
                          <a:ea typeface="ＭＳ ゴシック" panose="020B0609070205080204" pitchFamily="49" charset="-128"/>
                        </a:rPr>
                        <a:t>Type</a:t>
                      </a:r>
                      <a:r>
                        <a:rPr kumimoji="1" lang="ja-JP" altLang="en-US" sz="1200" i="1">
                          <a:solidFill>
                            <a:schemeClr val="tx1"/>
                          </a:solidFill>
                          <a:latin typeface="ＭＳ ゴシック" panose="020B0609070205080204" pitchFamily="49" charset="-128"/>
                          <a:ea typeface="ＭＳ ゴシック" panose="020B0609070205080204" pitchFamily="49" charset="-128"/>
                        </a:rPr>
                        <a:t>２</a:t>
                      </a:r>
                    </a:p>
                  </a:txBody>
                  <a:tcPr/>
                </a:tc>
                <a:tc>
                  <a:txBody>
                    <a:bodyPr/>
                    <a:lstStyle/>
                    <a:p>
                      <a:r>
                        <a:rPr kumimoji="1" lang="ja-JP" altLang="en-US" sz="1200" i="1">
                          <a:solidFill>
                            <a:schemeClr val="tx1"/>
                          </a:solidFill>
                          <a:latin typeface="ＭＳ ゴシック" panose="020B0609070205080204" pitchFamily="49" charset="-128"/>
                          <a:ea typeface="ＭＳ ゴシック" panose="020B0609070205080204" pitchFamily="49" charset="-128"/>
                        </a:rPr>
                        <a:t>内閣官房</a:t>
                      </a:r>
                    </a:p>
                  </a:txBody>
                  <a:tcPr/>
                </a:tc>
                <a:tc>
                  <a:txBody>
                    <a:bodyPr/>
                    <a:lstStyle/>
                    <a:p>
                      <a:r>
                        <a:rPr kumimoji="1" lang="ja-JP" altLang="en-US" sz="1200" i="1">
                          <a:solidFill>
                            <a:schemeClr val="tx1"/>
                          </a:solidFill>
                          <a:latin typeface="ＭＳ ゴシック" panose="020B0609070205080204" pitchFamily="49" charset="-128"/>
                          <a:ea typeface="ＭＳ ゴシック" panose="020B0609070205080204" pitchFamily="49" charset="-128"/>
                        </a:rPr>
                        <a:t>本市</a:t>
                      </a:r>
                    </a:p>
                  </a:txBody>
                  <a:tcPr/>
                </a:tc>
                <a:tc>
                  <a:txBody>
                    <a:bodyPr/>
                    <a:lstStyle/>
                    <a:p>
                      <a:pPr algn="l"/>
                      <a:r>
                        <a:rPr kumimoji="1" lang="ja-JP" altLang="en-US" sz="1200" i="1">
                          <a:solidFill>
                            <a:schemeClr val="tx1"/>
                          </a:solidFill>
                          <a:latin typeface="ＭＳ ゴシック" panose="020B0609070205080204" pitchFamily="49" charset="-128"/>
                          <a:ea typeface="ＭＳ ゴシック" panose="020B0609070205080204" pitchFamily="49" charset="-128"/>
                        </a:rPr>
                        <a:t>令和５年度</a:t>
                      </a:r>
                    </a:p>
                  </a:txBody>
                  <a:tcPr/>
                </a:tc>
                <a:extLst>
                  <a:ext uri="{0D108BD9-81ED-4DB2-BD59-A6C34878D82A}">
                    <a16:rowId xmlns:a16="http://schemas.microsoft.com/office/drawing/2014/main" val="10002"/>
                  </a:ext>
                </a:extLst>
              </a:tr>
              <a:tr h="238929">
                <a:tc>
                  <a:txBody>
                    <a:bodyPr/>
                    <a:lstStyle/>
                    <a:p>
                      <a:r>
                        <a:rPr kumimoji="1" lang="ja-JP" altLang="en-US" sz="1200" i="1">
                          <a:solidFill>
                            <a:schemeClr val="tx1"/>
                          </a:solidFill>
                          <a:latin typeface="ＭＳ ゴシック" panose="020B0609070205080204" pitchFamily="49" charset="-128"/>
                          <a:ea typeface="ＭＳ ゴシック" panose="020B0609070205080204" pitchFamily="49" charset="-128"/>
                        </a:rPr>
                        <a:t>共創の場形成支援プログラム（</a:t>
                      </a:r>
                      <a:r>
                        <a:rPr kumimoji="1" lang="en-US" altLang="ja-JP" sz="1200" i="1">
                          <a:solidFill>
                            <a:schemeClr val="tx1"/>
                          </a:solidFill>
                          <a:latin typeface="ＭＳ ゴシック" panose="020B0609070205080204" pitchFamily="49" charset="-128"/>
                          <a:ea typeface="ＭＳ ゴシック" panose="020B0609070205080204" pitchFamily="49" charset="-128"/>
                        </a:rPr>
                        <a:t>COI-NEXT)</a:t>
                      </a:r>
                      <a:endParaRPr kumimoji="1" lang="ja-JP" altLang="en-US" sz="1200" i="1">
                        <a:solidFill>
                          <a:schemeClr val="tx1"/>
                        </a:solidFill>
                        <a:latin typeface="ＭＳ ゴシック" panose="020B0609070205080204" pitchFamily="49" charset="-128"/>
                        <a:ea typeface="ＭＳ ゴシック" panose="020B0609070205080204" pitchFamily="49" charset="-128"/>
                      </a:endParaRPr>
                    </a:p>
                  </a:txBody>
                  <a:tcPr/>
                </a:tc>
                <a:tc>
                  <a:txBody>
                    <a:bodyPr/>
                    <a:lstStyle/>
                    <a:p>
                      <a:r>
                        <a:rPr kumimoji="1" lang="ja-JP" altLang="en-US" sz="1200" i="1">
                          <a:solidFill>
                            <a:schemeClr val="tx1"/>
                          </a:solidFill>
                          <a:latin typeface="ＭＳ ゴシック" panose="020B0609070205080204" pitchFamily="49" charset="-128"/>
                          <a:ea typeface="ＭＳ ゴシック" panose="020B0609070205080204" pitchFamily="49" charset="-128"/>
                        </a:rPr>
                        <a:t>文部科学省</a:t>
                      </a:r>
                      <a:endParaRPr kumimoji="1" lang="en-US" altLang="ja-JP" sz="1200" i="1">
                        <a:solidFill>
                          <a:schemeClr val="tx1"/>
                        </a:solidFill>
                        <a:latin typeface="ＭＳ ゴシック" panose="020B0609070205080204" pitchFamily="49" charset="-128"/>
                        <a:ea typeface="ＭＳ ゴシック" panose="020B0609070205080204" pitchFamily="49" charset="-128"/>
                      </a:endParaRPr>
                    </a:p>
                    <a:p>
                      <a:r>
                        <a:rPr kumimoji="1" lang="ja-JP" altLang="en-US" sz="1200" i="1">
                          <a:solidFill>
                            <a:schemeClr val="tx1"/>
                          </a:solidFill>
                          <a:latin typeface="ＭＳ ゴシック" panose="020B0609070205080204" pitchFamily="49" charset="-128"/>
                          <a:ea typeface="ＭＳ ゴシック" panose="020B0609070205080204" pitchFamily="49" charset="-128"/>
                        </a:rPr>
                        <a:t>（国立研究開発法人科学技術振興機構（</a:t>
                      </a:r>
                      <a:r>
                        <a:rPr kumimoji="1" lang="en-US" altLang="ja-JP" sz="1200" i="1">
                          <a:solidFill>
                            <a:schemeClr val="tx1"/>
                          </a:solidFill>
                          <a:latin typeface="ＭＳ ゴシック" panose="020B0609070205080204" pitchFamily="49" charset="-128"/>
                          <a:ea typeface="ＭＳ ゴシック" panose="020B0609070205080204" pitchFamily="49" charset="-128"/>
                        </a:rPr>
                        <a:t>JST</a:t>
                      </a:r>
                      <a:r>
                        <a:rPr kumimoji="1" lang="ja-JP" altLang="en-US" sz="1200" i="1">
                          <a:solidFill>
                            <a:schemeClr val="tx1"/>
                          </a:solidFill>
                          <a:latin typeface="ＭＳ ゴシック" panose="020B0609070205080204" pitchFamily="49" charset="-128"/>
                          <a:ea typeface="ＭＳ ゴシック" panose="020B0609070205080204" pitchFamily="49" charset="-128"/>
                        </a:rPr>
                        <a:t>））</a:t>
                      </a:r>
                    </a:p>
                  </a:txBody>
                  <a:tcPr/>
                </a:tc>
                <a:tc>
                  <a:txBody>
                    <a:bodyPr/>
                    <a:lstStyle/>
                    <a:p>
                      <a:r>
                        <a:rPr kumimoji="1" lang="ja-JP" altLang="en-US" sz="1200" i="1">
                          <a:solidFill>
                            <a:schemeClr val="tx1"/>
                          </a:solidFill>
                          <a:latin typeface="ＭＳ ゴシック" panose="020B0609070205080204" pitchFamily="49" charset="-128"/>
                          <a:ea typeface="ＭＳ ゴシック" panose="020B0609070205080204" pitchFamily="49" charset="-128"/>
                        </a:rPr>
                        <a:t>●●大学</a:t>
                      </a:r>
                    </a:p>
                  </a:txBody>
                  <a:tcPr/>
                </a:tc>
                <a:tc>
                  <a:txBody>
                    <a:bodyPr/>
                    <a:lstStyle/>
                    <a:p>
                      <a:pPr algn="l"/>
                      <a:r>
                        <a:rPr kumimoji="1" lang="ja-JP" altLang="en-US" sz="1200" i="1">
                          <a:solidFill>
                            <a:schemeClr val="tx1"/>
                          </a:solidFill>
                          <a:latin typeface="ＭＳ ゴシック" panose="020B0609070205080204" pitchFamily="49" charset="-128"/>
                          <a:ea typeface="ＭＳ ゴシック" panose="020B0609070205080204" pitchFamily="49" charset="-128"/>
                        </a:rPr>
                        <a:t>令和４年度</a:t>
                      </a:r>
                    </a:p>
                  </a:txBody>
                  <a:tcPr/>
                </a:tc>
                <a:extLst>
                  <a:ext uri="{0D108BD9-81ED-4DB2-BD59-A6C34878D82A}">
                    <a16:rowId xmlns:a16="http://schemas.microsoft.com/office/drawing/2014/main" val="4067295386"/>
                  </a:ext>
                </a:extLst>
              </a:tr>
              <a:tr h="238929">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a:tc>
                <a:tc>
                  <a:txBody>
                    <a:bodyPr/>
                    <a:lstStyle/>
                    <a:p>
                      <a:pPr algn="l"/>
                      <a:endParaRPr kumimoji="1" lang="ja-JP" altLang="en-US" sz="120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bl>
          </a:graphicData>
        </a:graphic>
      </p:graphicFrame>
      <p:sp>
        <p:nvSpPr>
          <p:cNvPr id="5" name="テキスト ボックス 4">
            <a:extLst>
              <a:ext uri="{FF2B5EF4-FFF2-40B4-BE49-F238E27FC236}">
                <a16:creationId xmlns:a16="http://schemas.microsoft.com/office/drawing/2014/main" id="{1492F229-1D69-FDBB-098F-3CE9F36FE613}"/>
              </a:ext>
            </a:extLst>
          </p:cNvPr>
          <p:cNvSpPr txBox="1"/>
          <p:nvPr/>
        </p:nvSpPr>
        <p:spPr>
          <a:xfrm>
            <a:off x="6613464" y="651700"/>
            <a:ext cx="2376264" cy="584775"/>
          </a:xfrm>
          <a:prstGeom prst="rect">
            <a:avLst/>
          </a:prstGeom>
          <a:solidFill>
            <a:schemeClr val="bg1">
              <a:lumMod val="85000"/>
            </a:schemeClr>
          </a:solidFill>
          <a:ln>
            <a:solidFill>
              <a:schemeClr val="tx1"/>
            </a:solid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記載例</a:t>
            </a:r>
            <a:endParaRPr kumimoji="1" lang="en-US" altLang="ja-JP" sz="2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申請時にこのスライドは削除する</a:t>
            </a:r>
            <a:endParaRPr kumimoji="1" lang="en-US" altLang="ja-JP"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41896817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４．合同審査評価ポイントへの該当性　</a:t>
            </a:r>
            <a:r>
              <a:rPr kumimoji="1" lang="en-US" altLang="ja-JP" sz="2400" b="1" i="0" u="none" strike="noStrike" kern="1200" cap="none" spc="0" normalizeH="0" baseline="0" noProof="0">
                <a:ln>
                  <a:noFill/>
                </a:ln>
                <a:solidFill>
                  <a:srgbClr val="FFFFFF"/>
                </a:solidFill>
                <a:effectLst/>
                <a:uLnTx/>
                <a:uFillTx/>
                <a:latin typeface="ＭＳ Ｐゴシック"/>
                <a:ea typeface="ＭＳ Ｐゴシック"/>
                <a:cs typeface="+mn-cs"/>
              </a:rPr>
              <a:t>【</a:t>
            </a:r>
            <a:r>
              <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rPr>
              <a:t>申請者名</a:t>
            </a:r>
            <a:r>
              <a:rPr kumimoji="1" lang="en-US" altLang="ja-JP" sz="2400" b="1" i="0" u="none" strike="noStrike" kern="1200" cap="none" spc="0" normalizeH="0" baseline="0" noProof="0">
                <a:ln>
                  <a:noFill/>
                </a:ln>
                <a:solidFill>
                  <a:srgbClr val="FFFFFF"/>
                </a:solidFill>
                <a:effectLst/>
                <a:uLnTx/>
                <a:uFillTx/>
                <a:latin typeface="ＭＳ Ｐゴシック"/>
                <a:ea typeface="ＭＳ Ｐゴシック"/>
                <a:cs typeface="+mn-cs"/>
              </a:rPr>
              <a:t>】</a:t>
            </a:r>
            <a:endParaRPr kumimoji="1" lang="ja-JP" altLang="en-US" sz="2400" b="1" i="0" u="none" strike="noStrike" kern="1200" cap="none" spc="0" normalizeH="0" baseline="0" noProof="0">
              <a:ln>
                <a:noFill/>
              </a:ln>
              <a:solidFill>
                <a:srgbClr val="FFFFFF"/>
              </a:solidFill>
              <a:effectLst/>
              <a:uLnTx/>
              <a:uFillTx/>
              <a:latin typeface="ＭＳ Ｐゴシック"/>
              <a:ea typeface="ＭＳ Ｐゴシック"/>
              <a:cs typeface="+mn-cs"/>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A1264516-8899-442B-8DBF-9D5455FF797E}"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7</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3" name="テキスト ボックス 1"/>
          <p:cNvSpPr txBox="1"/>
          <p:nvPr/>
        </p:nvSpPr>
        <p:spPr>
          <a:xfrm>
            <a:off x="-32423" y="613276"/>
            <a:ext cx="4032448" cy="307777"/>
          </a:xfrm>
          <a:prstGeom prst="rect">
            <a:avLst/>
          </a:prstGeom>
          <a:noFill/>
        </p:spPr>
        <p:txBody>
          <a:bodyPr wrap="square" rtlCol="0">
            <a:spAutoFit/>
          </a:bodyPr>
          <a:lstStyle/>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合同審査評価ポイントを満たしている理由</a:t>
            </a:r>
            <a:endParaRPr kumimoji="1" lang="en-US" altLang="ja-JP" sz="1400" b="1"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Rectangle 66"/>
          <p:cNvSpPr>
            <a:spLocks noChangeArrowheads="1"/>
          </p:cNvSpPr>
          <p:nvPr/>
        </p:nvSpPr>
        <p:spPr>
          <a:xfrm>
            <a:off x="102102" y="1340768"/>
            <a:ext cx="8939796" cy="5342114"/>
          </a:xfrm>
          <a:prstGeom prst="rect">
            <a:avLst/>
          </a:prstGeom>
          <a:noFill/>
          <a:ln w="28575">
            <a:solidFill>
              <a:schemeClr val="tx1"/>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①本事業は●●という点で前例がなく、新たなサービスの開発につながるものである。また、本事業において解決を目指す■■という課題は全国の地方都市で生じている共通の課題であることから、本事業で▲▲の点を確認し、その知見とともに事業の成果を横展開、本格普及させていく意義は大きい。</a:t>
            </a: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②本事業は、本市における●●分野の■■データを活用して▲▲分野における●●という課題の解決を目指すものである。これにより、従来個々に進めていた施策を一体で行うことになるため、全体の作業期間の短縮や、■■の外部委託費用を一部削減することが可能となる。加えて、関係課による連携が強化され、緊急時においては▲▲の点で円滑な初動も可能となる。</a:t>
            </a: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③ </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例１</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本事業は、令和５年度に本市が「デジタル田園都市国家構想交付金（デジタル実装</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Type</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２）」により整備したデータ連携基盤を活用し、隣接する●●町と共同で運用するものである。なお、将来的には、県下全市町村の▲▲データを活用しつつ、更に他地域への展開、連携を図る計画としている。</a:t>
            </a: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例２</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本事業は、●●大学が平成４年度から継続中の「地域の場形成支援プログラム（</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COI-NEXT)</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による事業と役割分担を行いつつ進めるものであり、両事業の連携により■■の効果を高めるため、同プログラムにより構築されたプラットフォームにおいて本事業の計画を検討してきたところである。本事業の実施後は、プラットフォームにおいて、●●大学から技術的助言を得るとともに、民間企業、まちづくり支援団体、商店街組合等の意見を聞きながら事業の進捗管理を行う予定（詳細は「６．都市マネジメント（運営体制）参照）。</a:t>
            </a: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④内閣府のスマートシティ・リファレンスアーキテクチャに準拠した都市</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OS</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FIWARE</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を使用する予定であり、３特徴（相互運用性、データ流通、拡張容易性（ビルディングブロック））を満たしている（「９．都市</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OS</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参照）。</a:t>
            </a: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⑤本事業で活用する</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PI</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は本市の市民ポータルサイトで公開している。なお、●●に関する一部の</a:t>
            </a:r>
            <a:r>
              <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PI</a:t>
            </a:r>
            <a:r>
              <a:rPr kumimoji="1" lang="ja-JP" altLang="en-US"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については、事業終了後、関係機関と調整の上、令和■年度を目途にスマートシティ官民連携プラットフォームでも公開する予定。</a:t>
            </a:r>
            <a:endParaRPr kumimoji="1" lang="en-US" altLang="ja-JP" sz="1400" b="0" i="1"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2" name="テキスト ボックス 1">
            <a:extLst>
              <a:ext uri="{FF2B5EF4-FFF2-40B4-BE49-F238E27FC236}">
                <a16:creationId xmlns:a16="http://schemas.microsoft.com/office/drawing/2014/main" id="{47DB23EC-E6A5-DB9C-CACB-5058A5F35C82}"/>
              </a:ext>
            </a:extLst>
          </p:cNvPr>
          <p:cNvSpPr txBox="1"/>
          <p:nvPr/>
        </p:nvSpPr>
        <p:spPr>
          <a:xfrm>
            <a:off x="6612041" y="649648"/>
            <a:ext cx="2376264" cy="584775"/>
          </a:xfrm>
          <a:prstGeom prst="rect">
            <a:avLst/>
          </a:prstGeom>
          <a:solidFill>
            <a:schemeClr val="bg1">
              <a:lumMod val="85000"/>
            </a:schemeClr>
          </a:solidFill>
          <a:ln>
            <a:solidFill>
              <a:schemeClr val="tx1"/>
            </a:solid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2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記載例</a:t>
            </a:r>
            <a:endParaRPr kumimoji="1" lang="en-US" altLang="ja-JP" sz="2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申請時にこのスライドは削除する</a:t>
            </a:r>
            <a:endParaRPr kumimoji="1" lang="en-US" altLang="ja-JP" sz="12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9957287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6" name="Rectangle 66"/>
          <p:cNvSpPr>
            <a:spLocks noChangeArrowheads="1"/>
          </p:cNvSpPr>
          <p:nvPr/>
        </p:nvSpPr>
        <p:spPr>
          <a:xfrm>
            <a:off x="107504" y="929277"/>
            <a:ext cx="8930607"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257"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５．スマートシティ戦略における位置づけ</a:t>
            </a:r>
            <a:endPar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58" name="Text Box 4"/>
          <p:cNvSpPr txBox="1">
            <a:spLocks noChangeArrowheads="1"/>
          </p:cNvSpPr>
          <p:nvPr/>
        </p:nvSpPr>
        <p:spPr>
          <a:xfrm>
            <a:off x="107504" y="502711"/>
            <a:ext cx="8074465"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地域の課題</a:t>
            </a:r>
            <a:endParaRPr kumimoji="1" lang="ja-JP" altLang="en-US" sz="2000" b="1" i="0" u="none" strike="noStrike" kern="1200" cap="none" spc="0" normalizeH="0" baseline="0" noProof="0">
              <a:ln>
                <a:noFill/>
              </a:ln>
              <a:solidFill>
                <a:srgbClr val="000000"/>
              </a:solidFill>
              <a:effectLst/>
              <a:uLnTx/>
              <a:uFillTx/>
              <a:latin typeface="ＭＳ Ｐゴシック"/>
              <a:ea typeface="ＭＳ Ｐゴシック"/>
              <a:cs typeface="+mn-cs"/>
            </a:endParaRPr>
          </a:p>
        </p:txBody>
      </p:sp>
      <p:sp>
        <p:nvSpPr>
          <p:cNvPr id="1259" name="正方形/長方形 18"/>
          <p:cNvSpPr/>
          <p:nvPr/>
        </p:nvSpPr>
        <p:spPr>
          <a:xfrm>
            <a:off x="66892" y="2513389"/>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sysClr val="windowText" lastClr="000000"/>
              </a:solidFill>
              <a:effectLst/>
              <a:uLnTx/>
              <a:uFillTx/>
              <a:latin typeface="Arial"/>
              <a:ea typeface="ＭＳ Ｐゴシック"/>
              <a:cs typeface="+mn-cs"/>
            </a:endParaRPr>
          </a:p>
        </p:txBody>
      </p:sp>
      <p:sp>
        <p:nvSpPr>
          <p:cNvPr id="1260" name="正方形/長方形 22"/>
          <p:cNvSpPr/>
          <p:nvPr/>
        </p:nvSpPr>
        <p:spPr>
          <a:xfrm>
            <a:off x="90767" y="908720"/>
            <a:ext cx="8418759" cy="52322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提案内容を通じて解決を目指す地域の課題について記載すること</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261" name="正方形/長方形 12"/>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262" name="Rectangle 66"/>
          <p:cNvSpPr>
            <a:spLocks noChangeArrowheads="1"/>
          </p:cNvSpPr>
          <p:nvPr/>
        </p:nvSpPr>
        <p:spPr>
          <a:xfrm>
            <a:off x="107504" y="3481538"/>
            <a:ext cx="8930607" cy="325983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263" name="Text Box 4"/>
          <p:cNvSpPr txBox="1">
            <a:spLocks noChangeArrowheads="1"/>
          </p:cNvSpPr>
          <p:nvPr/>
        </p:nvSpPr>
        <p:spPr>
          <a:xfrm>
            <a:off x="107504" y="3081427"/>
            <a:ext cx="8627825"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提案事業が達成に寄与するスマートシティの</a:t>
            </a:r>
            <a:r>
              <a:rPr kumimoji="1" lang="ja-JP" altLang="en-US" sz="2000" b="1" i="0" u="none" strike="noStrike" kern="1200" cap="none" spc="0" normalizeH="0" baseline="0" noProof="0">
                <a:ln>
                  <a:noFill/>
                </a:ln>
                <a:solidFill>
                  <a:srgbClr val="000000"/>
                </a:solidFill>
                <a:effectLst/>
                <a:uLnTx/>
                <a:uFillTx/>
                <a:latin typeface="ＭＳ Ｐゴシック"/>
                <a:ea typeface="ＭＳ Ｐゴシック"/>
                <a:cs typeface="+mn-cs"/>
              </a:rPr>
              <a:t>目標</a:t>
            </a:r>
            <a:r>
              <a:rPr kumimoji="1" lang="en-US" altLang="ja-JP" sz="2000" b="1" i="0" u="none" strike="noStrike" kern="1200" cap="none" spc="0" normalizeH="0" baseline="0" noProof="0">
                <a:ln>
                  <a:noFill/>
                </a:ln>
                <a:solidFill>
                  <a:srgbClr val="000000"/>
                </a:solidFill>
                <a:effectLst/>
                <a:uLnTx/>
                <a:uFillTx/>
                <a:latin typeface="ＭＳ Ｐゴシック"/>
                <a:ea typeface="ＭＳ Ｐゴシック"/>
                <a:cs typeface="+mn-cs"/>
              </a:rPr>
              <a:t>(KPI)</a:t>
            </a:r>
            <a:r>
              <a:rPr kumimoji="1" lang="ja-JP" altLang="en-US" sz="2000" b="1" i="0" u="none" strike="noStrike" kern="1200" cap="none" spc="0" normalizeH="0" baseline="0" noProof="0">
                <a:ln>
                  <a:noFill/>
                </a:ln>
                <a:solidFill>
                  <a:srgbClr val="000000"/>
                </a:solidFill>
                <a:effectLst/>
                <a:uLnTx/>
                <a:uFillTx/>
                <a:latin typeface="ＭＳ Ｐゴシック"/>
                <a:ea typeface="ＭＳ Ｐゴシック"/>
                <a:cs typeface="+mn-cs"/>
              </a:rPr>
              <a:t>とロジックモデル</a:t>
            </a:r>
          </a:p>
        </p:txBody>
      </p:sp>
      <p:sp>
        <p:nvSpPr>
          <p:cNvPr id="1264" name="正方形/長方形 16"/>
          <p:cNvSpPr/>
          <p:nvPr/>
        </p:nvSpPr>
        <p:spPr>
          <a:xfrm>
            <a:off x="128224" y="5549225"/>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sysClr val="windowText" lastClr="000000"/>
              </a:solidFill>
              <a:effectLst/>
              <a:uLnTx/>
              <a:uFillTx/>
              <a:latin typeface="Arial"/>
              <a:ea typeface="ＭＳ Ｐゴシック"/>
              <a:cs typeface="+mn-cs"/>
            </a:endParaRPr>
          </a:p>
        </p:txBody>
      </p:sp>
      <p:sp>
        <p:nvSpPr>
          <p:cNvPr id="1265" name="正方形/長方形 17"/>
          <p:cNvSpPr/>
          <p:nvPr/>
        </p:nvSpPr>
        <p:spPr>
          <a:xfrm>
            <a:off x="72522" y="3496368"/>
            <a:ext cx="8930606" cy="1046440"/>
          </a:xfrm>
          <a:prstGeom prst="rect">
            <a:avLst/>
          </a:prstGeom>
        </p:spPr>
        <p:txBody>
          <a:bodyPr wrap="square">
            <a:spAutoFit/>
          </a:bodyPr>
          <a:lstStyle/>
          <a:p>
            <a:pPr marL="182563" marR="0" lvl="0" indent="-182563"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本事業を通じてどのように前項の「地域の課題」を解決し、それにより地域社会がどのように変化するのかを、ロジックモデルを用いて説明し、事業の成果を評価（確認）するための指標（</a:t>
            </a:r>
            <a:r>
              <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KPI</a:t>
            </a:r>
            <a:r>
              <a:rPr kumimoji="1" lang="ja-JP" altLang="en-US"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を記載すること</a:t>
            </a:r>
            <a:endPar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KPI</a:t>
            </a:r>
            <a:r>
              <a:rPr kumimoji="1" lang="ja-JP" altLang="en-US"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の設定及び見直しにあたっては「スマートシティ施策の</a:t>
            </a:r>
            <a:r>
              <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KPI</a:t>
            </a:r>
            <a:r>
              <a:rPr kumimoji="1" lang="ja-JP" altLang="en-US"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設定指針Ｖｅｒ２</a:t>
            </a:r>
            <a:r>
              <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０</a:t>
            </a:r>
            <a:r>
              <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を参照すること</a:t>
            </a:r>
            <a:endPar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en-GB"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https://www8.cao.go.jp/cstp/society5_0/smartcity/kpi.html</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a:t>
            </a:r>
            <a:endParaRPr kumimoji="1" lang="en-US" altLang="ja-JP" sz="12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　「顔認証の実用化による公共交通の利便性向上と高齢者の外出促進」施策の例（設定指針 </a:t>
            </a:r>
            <a:r>
              <a:rPr kumimoji="1" lang="en-US" altLang="ja-JP"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P.2</a:t>
            </a:r>
            <a:r>
              <a:rPr kumimoji="1" lang="ja-JP" altLang="en-US" sz="11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rPr>
              <a:t>）</a:t>
            </a:r>
            <a:endParaRPr kumimoji="1" lang="en-US" altLang="ja-JP" sz="1400" b="0" i="1"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267" name="テキスト 673"/>
          <p:cNvSpPr txBox="1"/>
          <p:nvPr/>
        </p:nvSpPr>
        <p:spPr>
          <a:xfrm>
            <a:off x="2483768" y="572972"/>
            <a:ext cx="6662429" cy="307777"/>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1" i="0" u="sng"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rPr>
              <a:t>※各事業の応募書類にて必須でない場合も可能な限り作成をお願いします。</a:t>
            </a: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4" name="正方形/長方形 1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72BEF263-E7F8-482B-8354-8C33DF007FD7}" type="slidenum">
              <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8</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pic>
        <p:nvPicPr>
          <p:cNvPr id="4" name="図 3">
            <a:extLst>
              <a:ext uri="{FF2B5EF4-FFF2-40B4-BE49-F238E27FC236}">
                <a16:creationId xmlns:a16="http://schemas.microsoft.com/office/drawing/2014/main" id="{937010CF-9493-C77B-8D2E-28759F614995}"/>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45861" y="4489153"/>
            <a:ext cx="5652278" cy="2219010"/>
          </a:xfrm>
          <a:prstGeom prst="rect">
            <a:avLst/>
          </a:prstGeom>
          <a:noFill/>
          <a:ln>
            <a:noFill/>
          </a:ln>
        </p:spPr>
      </p:pic>
    </p:spTree>
    <p:extLst>
      <p:ext uri="{BB962C8B-B14F-4D97-AF65-F5344CB8AC3E}">
        <p14:creationId xmlns:p14="http://schemas.microsoft.com/office/powerpoint/2010/main" val="35669150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3"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６．都市マネジメント（運営体制）</a:t>
            </a:r>
            <a:endParaRPr kumimoji="1" lang="ja-JP" altLang="en-US" sz="1800" b="1"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74" name="正方形/長方形 672"/>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a:ea typeface="ＭＳ Ｐゴシック"/>
                <a:cs typeface="+mn-cs"/>
              </a:rPr>
              <a:t>共通※</a:t>
            </a:r>
          </a:p>
        </p:txBody>
      </p:sp>
      <p:sp>
        <p:nvSpPr>
          <p:cNvPr id="1275" name="Text Box 4"/>
          <p:cNvSpPr txBox="1">
            <a:spLocks noChangeArrowheads="1"/>
          </p:cNvSpPr>
          <p:nvPr/>
        </p:nvSpPr>
        <p:spPr>
          <a:xfrm>
            <a:off x="107504" y="502711"/>
            <a:ext cx="3884240" cy="621709"/>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運営体制</a:t>
            </a:r>
          </a:p>
          <a:p>
            <a:pPr marL="238125" marR="0" lvl="0" indent="-238125" algn="l" defTabSz="914400" rtl="0" eaLnBrk="1" fontAlgn="base" latinLnBrk="0" hangingPunct="1">
              <a:lnSpc>
                <a:spcPct val="90000"/>
              </a:lnSpc>
              <a:spcBef>
                <a:spcPct val="0"/>
              </a:spcBef>
              <a:spcAft>
                <a:spcPct val="0"/>
              </a:spcAft>
              <a:buClrTx/>
              <a:buSzTx/>
              <a:buFont typeface="Wingdings" pitchFamily="2" charset="2"/>
              <a:buNone/>
              <a:tabLst/>
              <a:defRPr/>
            </a:pPr>
            <a:endParaRPr kumimoji="1" lang="ja-JP" altLang="en-US" sz="16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276" name="Rectangle 66"/>
          <p:cNvSpPr>
            <a:spLocks noChangeArrowheads="1"/>
          </p:cNvSpPr>
          <p:nvPr/>
        </p:nvSpPr>
        <p:spPr>
          <a:xfrm>
            <a:off x="223794" y="929277"/>
            <a:ext cx="8740694" cy="2931771"/>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277" name="表 3"/>
          <p:cNvGraphicFramePr>
            <a:graphicFrameLocks noGrp="1"/>
          </p:cNvGraphicFramePr>
          <p:nvPr/>
        </p:nvGraphicFramePr>
        <p:xfrm>
          <a:off x="221469" y="4359968"/>
          <a:ext cx="4278523" cy="1927276"/>
        </p:xfrm>
        <a:graphic>
          <a:graphicData uri="http://schemas.openxmlformats.org/drawingml/2006/table">
            <a:tbl>
              <a:tblPr/>
              <a:tblGrid>
                <a:gridCol w="246075">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3024336">
                  <a:extLst>
                    <a:ext uri="{9D8B030D-6E8A-4147-A177-3AD203B41FA5}">
                      <a16:colId xmlns:a16="http://schemas.microsoft.com/office/drawing/2014/main" val="20002"/>
                    </a:ext>
                  </a:extLst>
                </a:gridCol>
              </a:tblGrid>
              <a:tr h="365176">
                <a:tc>
                  <a:txBody>
                    <a:bodyPr/>
                    <a:lstStyle/>
                    <a:p>
                      <a:pPr marR="44450" indent="127000" algn="ctr">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名称</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役割及び責任</a:t>
                      </a:r>
                      <a:endParaRPr lang="en-US" altLang="ja-JP" sz="1000" kern="10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spcAft>
                          <a:spcPts val="0"/>
                        </a:spcAft>
                        <a:tabLst>
                          <a:tab pos="2700020" algn="ctr"/>
                          <a:tab pos="5400040" algn="r"/>
                        </a:tabLst>
                      </a:pPr>
                      <a:r>
                        <a:rPr lang="ja-JP" sz="800" i="1" kern="100">
                          <a:solidFill>
                            <a:srgbClr val="FF0000"/>
                          </a:solidFill>
                          <a:effectLst/>
                          <a:latin typeface="Meiryo UI" panose="020B0604030504040204" pitchFamily="50" charset="-128"/>
                          <a:ea typeface="ＭＳ ゴシック" panose="020B0609070205080204" pitchFamily="49" charset="-128"/>
                          <a:cs typeface="Meiryo UI" panose="020B0604030504040204" pitchFamily="50" charset="-128"/>
                        </a:rPr>
                        <a:t>※　体制図に対応した主体別に役割を明確に記入すること</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65760">
                <a:tc>
                  <a:txBody>
                    <a:bodyPr/>
                    <a:lstStyle/>
                    <a:p>
                      <a:pPr marR="44450" indent="127000">
                        <a:spcAft>
                          <a:spcPts val="0"/>
                        </a:spcAft>
                        <a:tabLst>
                          <a:tab pos="2700020" algn="ctr"/>
                          <a:tab pos="5400040" algn="r"/>
                        </a:tabLst>
                      </a:pPr>
                      <a:r>
                        <a:rPr lang="en-US" sz="1000" kern="100">
                          <a:effectLst/>
                          <a:latin typeface="ＭＳ ゴシック"/>
                          <a:ea typeface="Meiryo UI"/>
                          <a:cs typeface="Meiryo UI" panose="020B0604030504040204" pitchFamily="50" charset="-128"/>
                        </a:rPr>
                        <a:t>1</a:t>
                      </a:r>
                      <a:endParaRPr lang="ja-JP" sz="1000" kern="100">
                        <a:effectLst/>
                        <a:latin typeface="ＭＳ ゴシック"/>
                        <a:ea typeface="Meiryo UI"/>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市</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事業計画の立案</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報告書の作成をはじめとする事業全般の管理・統括業務</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R="44450" indent="127000">
                        <a:spcAft>
                          <a:spcPts val="0"/>
                        </a:spcAft>
                        <a:tabLst>
                          <a:tab pos="2700020" algn="ctr"/>
                          <a:tab pos="5400040" algn="r"/>
                        </a:tabLst>
                      </a:pPr>
                      <a:r>
                        <a:rPr lang="en-US" sz="1000" kern="100">
                          <a:effectLst/>
                          <a:latin typeface="ＭＳ ゴシック"/>
                          <a:ea typeface="Meiryo UI"/>
                          <a:cs typeface="Meiryo UI" panose="020B0604030504040204" pitchFamily="50" charset="-128"/>
                        </a:rPr>
                        <a:t>2</a:t>
                      </a:r>
                      <a:endParaRPr lang="ja-JP" sz="1000" kern="100">
                        <a:effectLst/>
                        <a:latin typeface="ＭＳ ゴシック"/>
                        <a:ea typeface="Meiryo UI"/>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大学</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事業実施に係るノウハウの提供</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R="44450" indent="127000">
                        <a:spcAft>
                          <a:spcPts val="0"/>
                        </a:spcAft>
                        <a:tabLst>
                          <a:tab pos="2700020" algn="ctr"/>
                          <a:tab pos="5400040" algn="r"/>
                        </a:tabLst>
                      </a:pPr>
                      <a:r>
                        <a:rPr lang="en-US" sz="1000" kern="100">
                          <a:effectLst/>
                          <a:latin typeface="ＭＳ ゴシック"/>
                          <a:ea typeface="Meiryo UI"/>
                          <a:cs typeface="Meiryo UI" panose="020B0604030504040204" pitchFamily="50" charset="-128"/>
                        </a:rPr>
                        <a:t>3</a:t>
                      </a:r>
                      <a:endParaRPr lang="ja-JP" sz="1000" kern="100">
                        <a:effectLst/>
                        <a:latin typeface="ＭＳ ゴシック"/>
                        <a:ea typeface="Meiryo UI"/>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株式会社</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システム設計</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R="44450" indent="127000">
                        <a:spcAft>
                          <a:spcPts val="0"/>
                        </a:spcAft>
                        <a:tabLst>
                          <a:tab pos="2700020" algn="ctr"/>
                          <a:tab pos="5400040" algn="r"/>
                        </a:tabLst>
                      </a:pPr>
                      <a:r>
                        <a:rPr lang="en-US" sz="1000" kern="100">
                          <a:effectLst/>
                          <a:latin typeface="ＭＳ ゴシック"/>
                          <a:ea typeface="Meiryo UI"/>
                          <a:cs typeface="Meiryo UI" panose="020B0604030504040204" pitchFamily="50" charset="-128"/>
                        </a:rPr>
                        <a:t>4</a:t>
                      </a:r>
                      <a:endParaRPr lang="ja-JP" sz="1000" kern="100">
                        <a:effectLst/>
                        <a:latin typeface="ＭＳ ゴシック"/>
                        <a:ea typeface="Meiryo UI"/>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a:ea typeface="ＭＳ ゴシック"/>
                          <a:cs typeface="Meiryo UI" panose="020B0604030504040204" pitchFamily="50" charset="-128"/>
                        </a:rPr>
                        <a:t>株式会社</a:t>
                      </a:r>
                      <a:r>
                        <a:rPr lang="en-US" sz="1000" kern="100">
                          <a:effectLst/>
                          <a:latin typeface="Meiryo UI"/>
                          <a:ea typeface="ＭＳ ゴシック"/>
                          <a:cs typeface="Meiryo UI" panose="020B0604030504040204" pitchFamily="50" charset="-128"/>
                        </a:rPr>
                        <a:t>××</a:t>
                      </a:r>
                      <a:endParaRPr lang="ja-JP" sz="1000" kern="100">
                        <a:effectLst/>
                        <a:latin typeface="Meiryo UI"/>
                        <a:ea typeface="ＭＳ ゴシック"/>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データ提供</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78" name="Text Box 4"/>
          <p:cNvSpPr txBox="1">
            <a:spLocks noChangeArrowheads="1"/>
          </p:cNvSpPr>
          <p:nvPr/>
        </p:nvSpPr>
        <p:spPr>
          <a:xfrm>
            <a:off x="221469" y="4078737"/>
            <a:ext cx="3884240" cy="276999"/>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a:t>
            </a:r>
            <a:r>
              <a:rPr kumimoji="1" lang="ja-JP" altLang="en-US" sz="12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各主体の役割</a:t>
            </a:r>
            <a:r>
              <a:rPr kumimoji="1" lang="en-US" altLang="ja-JP" sz="120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rPr>
              <a:t>】</a:t>
            </a:r>
            <a:endParaRPr kumimoji="1" lang="ja-JP" altLang="en-US" sz="1050" b="0" i="0" u="none" strike="noStrike" kern="1200" cap="none" spc="0" normalizeH="0" baseline="0" noProof="0">
              <a:ln>
                <a:noFill/>
              </a:ln>
              <a:solidFill>
                <a:srgbClr val="000000"/>
              </a:solidFill>
              <a:effectLst/>
              <a:uLnTx/>
              <a:uFillTx/>
              <a:latin typeface="Tahoma" pitchFamily="34" charset="0"/>
              <a:ea typeface="ＭＳ Ｐゴシック" panose="020B0600070205080204" pitchFamily="50" charset="-128"/>
              <a:cs typeface="+mn-cs"/>
            </a:endParaRPr>
          </a:p>
        </p:txBody>
      </p:sp>
      <p:graphicFrame>
        <p:nvGraphicFramePr>
          <p:cNvPr id="1279" name="表 16"/>
          <p:cNvGraphicFramePr>
            <a:graphicFrameLocks noGrp="1"/>
          </p:cNvGraphicFramePr>
          <p:nvPr/>
        </p:nvGraphicFramePr>
        <p:xfrm>
          <a:off x="4644007" y="4359968"/>
          <a:ext cx="4339573" cy="1908142"/>
        </p:xfrm>
        <a:graphic>
          <a:graphicData uri="http://schemas.openxmlformats.org/drawingml/2006/table">
            <a:tbl>
              <a:tblPr/>
              <a:tblGrid>
                <a:gridCol w="341842">
                  <a:extLst>
                    <a:ext uri="{9D8B030D-6E8A-4147-A177-3AD203B41FA5}">
                      <a16:colId xmlns:a16="http://schemas.microsoft.com/office/drawing/2014/main" val="20000"/>
                    </a:ext>
                  </a:extLst>
                </a:gridCol>
                <a:gridCol w="1032481">
                  <a:extLst>
                    <a:ext uri="{9D8B030D-6E8A-4147-A177-3AD203B41FA5}">
                      <a16:colId xmlns:a16="http://schemas.microsoft.com/office/drawing/2014/main" val="20001"/>
                    </a:ext>
                  </a:extLst>
                </a:gridCol>
                <a:gridCol w="2965250">
                  <a:extLst>
                    <a:ext uri="{9D8B030D-6E8A-4147-A177-3AD203B41FA5}">
                      <a16:colId xmlns:a16="http://schemas.microsoft.com/office/drawing/2014/main" val="20002"/>
                    </a:ext>
                  </a:extLst>
                </a:gridCol>
              </a:tblGrid>
              <a:tr h="350370">
                <a:tc>
                  <a:txBody>
                    <a:bodyPr/>
                    <a:lstStyle/>
                    <a:p>
                      <a:pPr marR="44450" indent="127000" algn="ctr">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名称</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役割及び責任</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34942">
                <a:tc>
                  <a:txBody>
                    <a:bodyPr/>
                    <a:lstStyle/>
                    <a:p>
                      <a:pPr marR="44450" indent="127000">
                        <a:spcAft>
                          <a:spcPts val="0"/>
                        </a:spcAft>
                        <a:tabLst>
                          <a:tab pos="2700020" algn="ctr"/>
                          <a:tab pos="5400040" algn="r"/>
                        </a:tabLst>
                      </a:pPr>
                      <a:r>
                        <a:rPr lang="en-US" altLang="ja-JP" sz="1000" kern="100">
                          <a:effectLst/>
                          <a:latin typeface="Meiryo UI" panose="020B0604030504040204" pitchFamily="50" charset="-128"/>
                          <a:ea typeface="Meiryo UI" panose="020B0604030504040204" pitchFamily="50" charset="-128"/>
                          <a:cs typeface="Meiryo UI" panose="020B0604030504040204" pitchFamily="50" charset="-128"/>
                        </a:rPr>
                        <a:t>5</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50370">
                <a:tc>
                  <a:txBody>
                    <a:bodyPr/>
                    <a:lstStyle/>
                    <a:p>
                      <a:pPr marR="44450" indent="127000">
                        <a:spcAft>
                          <a:spcPts val="0"/>
                        </a:spcAft>
                        <a:tabLst>
                          <a:tab pos="2700020" algn="ctr"/>
                          <a:tab pos="5400040" algn="r"/>
                        </a:tabLst>
                      </a:pPr>
                      <a:r>
                        <a:rPr lang="en-US" altLang="ja-JP" sz="1000" kern="100">
                          <a:effectLst/>
                          <a:latin typeface="ＭＳ ゴシック" panose="020B0609070205080204" pitchFamily="49" charset="-128"/>
                          <a:ea typeface="Meiryo UI" panose="020B0604030504040204" pitchFamily="50" charset="-128"/>
                          <a:cs typeface="Meiryo UI" panose="020B0604030504040204" pitchFamily="50" charset="-128"/>
                        </a:rPr>
                        <a:t>6</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50370">
                <a:tc>
                  <a:txBody>
                    <a:bodyPr/>
                    <a:lstStyle/>
                    <a:p>
                      <a:pPr marR="44450" indent="127000">
                        <a:spcAft>
                          <a:spcPts val="0"/>
                        </a:spcAft>
                        <a:tabLst>
                          <a:tab pos="2700020" algn="ctr"/>
                          <a:tab pos="5400040" algn="r"/>
                        </a:tabLst>
                      </a:pPr>
                      <a:r>
                        <a:rPr lang="en-US" altLang="ja-JP" sz="1000" kern="100">
                          <a:effectLst/>
                          <a:latin typeface="ＭＳ ゴシック" panose="020B0609070205080204" pitchFamily="49" charset="-128"/>
                          <a:ea typeface="Meiryo UI" panose="020B0604030504040204" pitchFamily="50" charset="-128"/>
                          <a:cs typeface="Meiryo UI" panose="020B0604030504040204" pitchFamily="50" charset="-128"/>
                        </a:rPr>
                        <a:t>7</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50370">
                <a:tc>
                  <a:txBody>
                    <a:bodyPr/>
                    <a:lstStyle/>
                    <a:p>
                      <a:pPr marR="44450" indent="127000">
                        <a:spcAft>
                          <a:spcPts val="0"/>
                        </a:spcAft>
                        <a:tabLst>
                          <a:tab pos="2700020" algn="ctr"/>
                          <a:tab pos="5400040" algn="r"/>
                        </a:tabLst>
                      </a:pPr>
                      <a:r>
                        <a:rPr lang="en-US" altLang="ja-JP" sz="1000" kern="100">
                          <a:effectLst/>
                          <a:latin typeface="ＭＳ ゴシック" panose="020B0609070205080204" pitchFamily="49" charset="-128"/>
                          <a:ea typeface="Meiryo UI" panose="020B0604030504040204" pitchFamily="50" charset="-128"/>
                          <a:cs typeface="Meiryo UI" panose="020B0604030504040204" pitchFamily="50" charset="-128"/>
                        </a:rPr>
                        <a:t>8</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80" name="正方形/長方形 4"/>
          <p:cNvSpPr/>
          <p:nvPr/>
        </p:nvSpPr>
        <p:spPr>
          <a:xfrm>
            <a:off x="127818" y="977847"/>
            <a:ext cx="8692654" cy="1169551"/>
          </a:xfrm>
          <a:prstGeom prst="rect">
            <a:avLst/>
          </a:prstGeom>
        </p:spPr>
        <p:txBody>
          <a:bodyPr wrap="square">
            <a:spAutoFit/>
          </a:bodyPr>
          <a:lstStyle/>
          <a:p>
            <a:pPr marL="254000" marR="14351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rPr>
              <a:t>※　提案者のみならず、補助</a:t>
            </a:r>
            <a:r>
              <a:rPr kumimoji="1" lang="ja-JP" altLang="en-US"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rPr>
              <a:t>等</a:t>
            </a:r>
            <a:r>
              <a:rPr kumimoji="1" lang="ja-JP" altLang="ja-JP"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rPr>
              <a:t>事業の実施に関わる者については本様式に役割、責任を明記すること</a:t>
            </a:r>
            <a:endParaRPr kumimoji="1" lang="en-US" altLang="ja-JP"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endParaRPr>
          </a:p>
          <a:p>
            <a:pPr marL="254000" marR="143510" lvl="0" indent="-127000" algn="l" defTabSz="914400" rtl="0" eaLnBrk="0" fontAlgn="base" latinLnBrk="0" hangingPunct="0">
              <a:lnSpc>
                <a:spcPct val="100000"/>
              </a:lnSpc>
              <a:spcBef>
                <a:spcPct val="0"/>
              </a:spcBef>
              <a:spcAft>
                <a:spcPts val="0"/>
              </a:spcAft>
              <a:buClrTx/>
              <a:buSzTx/>
              <a:buFontTx/>
              <a:buNone/>
              <a:tabLst/>
              <a:defRPr/>
            </a:pPr>
            <a:r>
              <a:rPr kumimoji="1" lang="en-US" altLang="ja-JP"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rPr>
              <a:t>※</a:t>
            </a:r>
            <a:r>
              <a:rPr kumimoji="1" lang="ja-JP" altLang="en-US"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rPr>
              <a:t>　協議会等の参画組織・団体も記入すること</a:t>
            </a:r>
            <a:endParaRPr kumimoji="1" lang="en-US" altLang="ja-JP"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endParaRPr>
          </a:p>
          <a:p>
            <a:pPr marL="254000" marR="143510" lvl="0" indent="-127000" algn="l" defTabSz="914400" rtl="0" eaLnBrk="0" fontAlgn="base" latinLnBrk="0" hangingPunct="0">
              <a:lnSpc>
                <a:spcPct val="100000"/>
              </a:lnSpc>
              <a:spcBef>
                <a:spcPct val="0"/>
              </a:spcBef>
              <a:spcAft>
                <a:spcPts val="0"/>
              </a:spcAft>
              <a:buClrTx/>
              <a:buSzTx/>
              <a:buFontTx/>
              <a:buNone/>
              <a:tabLst/>
              <a:defRPr/>
            </a:pPr>
            <a:r>
              <a:rPr kumimoji="1" lang="en-US" altLang="ja-JP"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rPr>
              <a:t>※</a:t>
            </a:r>
            <a:r>
              <a:rPr kumimoji="1" lang="ja-JP" altLang="en-US"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rPr>
              <a:t>　提案内容のうち、地域の持続的な推進・運営のために必要となる機能・役割の抽出やプレーヤーの選定、ステークホルダーの管理（スマートシティ推進組織）について「スマートシティリファレンスアーキテクチャ」において「都市マネジメント」と整理されている事項について、ホワイトペーパー第５章を参照し、記載すること</a:t>
            </a:r>
            <a:endParaRPr kumimoji="1" lang="en-US" altLang="ja-JP" sz="1400" b="0" i="1" u="none" strike="noStrike" kern="100" cap="none" spc="0" normalizeH="0" baseline="0" noProof="0">
              <a:ln>
                <a:noFill/>
              </a:ln>
              <a:solidFill>
                <a:srgbClr val="FF0000"/>
              </a:solidFill>
              <a:effectLst/>
              <a:uLnTx/>
              <a:uFillTx/>
              <a:latin typeface="ＭＳ Ｐゴシック"/>
              <a:ea typeface="ＭＳ Ｐゴシック"/>
              <a:cs typeface="Meiryo UI" panose="020B0604030504040204" pitchFamily="50" charset="-128"/>
            </a:endParaRPr>
          </a:p>
        </p:txBody>
      </p:sp>
      <p:sp>
        <p:nvSpPr>
          <p:cNvPr id="1282" name="テキスト 673"/>
          <p:cNvSpPr txBox="1"/>
          <p:nvPr/>
        </p:nvSpPr>
        <p:spPr>
          <a:xfrm>
            <a:off x="2990356" y="572972"/>
            <a:ext cx="6155841" cy="306884"/>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rPr>
              <a:t>※応募事業に関連のない場合は記載しなくても良い（詳細は別紙２参照）</a:t>
            </a: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fld id="{D3B5BBDD-723F-451E-B75D-888B4059EF89}" type="slidenum">
              <a:rPr kumimoji="1" lang="en-US" altLang="ja-JP" sz="148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0" fontAlgn="base" latinLnBrk="0" hangingPunct="0">
                <a:lnSpc>
                  <a:spcPct val="100000"/>
                </a:lnSpc>
                <a:spcBef>
                  <a:spcPct val="0"/>
                </a:spcBef>
                <a:spcAft>
                  <a:spcPct val="0"/>
                </a:spcAft>
                <a:buClrTx/>
                <a:buSzTx/>
                <a:buFontTx/>
                <a:buNone/>
                <a:tabLst/>
                <a:defRPr/>
              </a:pPr>
              <a:t>9</a:t>
            </a:fld>
            <a:endParaRPr kumimoji="1" lang="ja-JP" altLang="en-US" sz="1480" b="0" i="0" u="none" strike="noStrike" kern="1200" cap="none" spc="0" normalizeH="0" baseline="0" noProof="0">
              <a:ln>
                <a:noFill/>
              </a:ln>
              <a:solidFill>
                <a:srgbClr val="000000"/>
              </a:solidFill>
              <a:effectLst/>
              <a:uLnTx/>
              <a:uFillTx/>
              <a:latin typeface="Arial"/>
              <a:ea typeface="ＭＳ Ｐゴシック"/>
              <a:cs typeface="+mn-cs"/>
            </a:endParaRPr>
          </a:p>
        </p:txBody>
      </p:sp>
    </p:spTree>
  </p:cSld>
  <p:clrMapOvr>
    <a:masterClrMapping/>
  </p:clrMapOvr>
</p:sld>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41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pPr>
      <a:bodyPr vertOverflow="overflow" horzOverflow="overflow" wrap="none">
        <a:spAutoFit/>
      </a:bodyPr>
      <a:lstStyle>
        <a:defPPr fontAlgn="auto">
          <a:spcBef>
            <a:spcPts val="0"/>
          </a:spcBef>
          <a:spcAft>
            <a:spcPts val="0"/>
          </a:spcAft>
          <a:defRPr b="1" u="sng" dirty="0">
            <a:solidFill>
              <a:prstClr val="black"/>
            </a:solidFill>
            <a:latin typeface="+mn-ea"/>
          </a:defRPr>
        </a:defPPr>
      </a:lstStyle>
    </a:spDef>
  </a:objectDefaults>
  <a:extraClrSchemeLst/>
</a:theme>
</file>

<file path=ppt/theme/theme3.xml><?xml version="1.0" encoding="utf-8"?>
<a:theme xmlns:a="http://schemas.openxmlformats.org/drawingml/2006/main" name="4_BCG Grid 16:9">
  <a:themeElements>
    <a:clrScheme name="Custom 11">
      <a:dk1>
        <a:srgbClr val="575757"/>
      </a:dk1>
      <a:lt1>
        <a:sysClr val="window" lastClr="FFFFFF"/>
      </a:lt1>
      <a:dk2>
        <a:srgbClr val="FF8222"/>
      </a:dk2>
      <a:lt2>
        <a:srgbClr val="F2F2F2"/>
      </a:lt2>
      <a:accent1>
        <a:srgbClr val="C85600"/>
      </a:accent1>
      <a:accent2>
        <a:srgbClr val="C9700A"/>
      </a:accent2>
      <a:accent3>
        <a:srgbClr val="D4DF33"/>
      </a:accent3>
      <a:accent4>
        <a:srgbClr val="E48D4A"/>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custGeom>
          <a:avLst/>
          <a:gdLst/>
          <a:ahLst/>
          <a:cxnLst/>
          <a:rect l="l" t="t" r="r" b="b"/>
          <a:pathLst/>
        </a:custGeom>
        <a:noFill/>
        <a:ln w="76200">
          <a:gradFill flip="none" rotWithShape="1">
            <a:gsLst>
              <a:gs pos="0">
                <a:schemeClr val="accent2"/>
              </a:gs>
              <a:gs pos="100000">
                <a:schemeClr val="tx2"/>
              </a:gs>
            </a:gsLst>
            <a:lin ang="2700000" scaled="1"/>
            <a:tileRect/>
          </a:gradFill>
        </a:ln>
      </a:spPr>
      <a:bodyPr vertOverflow="overflow" horzOverflow="overflow" lIns="0" tIns="0" rIns="0" bIns="0" rtlCol="0" anchor="ctr"/>
      <a:lstStyle>
        <a:defPPr algn="ctr">
          <a:lnSpc>
            <a:spcPct val="95000"/>
          </a:lnSpc>
          <a:defRPr sz="2000" kern="0" dirty="0" smtClean="0">
            <a:solidFill>
              <a:srgbClr val="575757"/>
            </a:solidFill>
            <a:latin typeface="Meiryo UI"/>
            <a:ea typeface="Meiryo UI"/>
          </a:defRPr>
        </a:defPPr>
      </a:lstStyle>
      <a:style>
        <a:lnRef idx="2">
          <a:schemeClr val="accent1">
            <a:shade val="50000"/>
          </a:schemeClr>
        </a:lnRef>
        <a:fillRef idx="1">
          <a:schemeClr val="accent1"/>
        </a:fillRef>
        <a:effectRef idx="0">
          <a:schemeClr val="accent1"/>
        </a:effectRef>
        <a:fontRef idx="minor">
          <a:schemeClr val="lt1"/>
        </a:fontRef>
      </a:style>
    </a:spDef>
    <a:lnDef>
      <a:spPr>
        <a:custGeom>
          <a:avLst/>
          <a:gdLst/>
          <a:ahLst/>
          <a:cxnLst/>
          <a:rect l="l" t="t" r="r" b="b"/>
          <a:pathLst/>
        </a:custGeom>
        <a:ln w="9525" cap="rnd">
          <a:solidFill>
            <a:schemeClr val="tx1">
              <a:lumMod val="60000"/>
              <a:lumOff val="40000"/>
            </a:schemeClr>
          </a:solidFill>
          <a:prstDash val="solid"/>
          <a:round/>
        </a:ln>
      </a:spPr>
      <a:bodyPr vertOverflow="overflow" horzOverflow="overflow"/>
      <a:lstStyle/>
      <a:style>
        <a:lnRef idx="1">
          <a:schemeClr val="accent1"/>
        </a:lnRef>
        <a:fillRef idx="0">
          <a:schemeClr val="accent1"/>
        </a:fillRef>
        <a:effectRef idx="0">
          <a:schemeClr val="accent1"/>
        </a:effectRef>
        <a:fontRef idx="minor">
          <a:schemeClr val="tx1"/>
        </a:fontRef>
      </a:style>
    </a:lnDef>
    <a:txDef>
      <a:spPr>
        <a:custGeom>
          <a:avLst/>
          <a:gdLst/>
          <a:ahLst/>
          <a:cxnLst/>
          <a:rect l="l" t="t" r="r" b="b"/>
          <a:pathLst/>
        </a:custGeom>
        <a:noFill/>
        <a:ln w="9525" cap="rnd">
          <a:noFill/>
          <a:prstDash val="solid"/>
          <a:round/>
        </a:ln>
      </a:spPr>
      <a:bodyPr rot="0" vertOverflow="overflow" horzOverflow="overflow" wrap="none" numCol="1" spcCol="0" rtlCol="0" fromWordArt="0" anchor="ctr" anchorCtr="0" forceAA="0" compatLnSpc="1"/>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theme>
</file>

<file path=ppt/theme/theme4.xml><?xml version="1.0" encoding="utf-8"?>
<a:theme xmlns:a="http://schemas.openxmlformats.org/drawingml/2006/main" name="2_BCG Grid 16:9">
  <a:themeElements>
    <a:clrScheme name="Custom 11">
      <a:dk1>
        <a:srgbClr val="575757"/>
      </a:dk1>
      <a:lt1>
        <a:sysClr val="window" lastClr="FFFFFF"/>
      </a:lt1>
      <a:dk2>
        <a:srgbClr val="FF8222"/>
      </a:dk2>
      <a:lt2>
        <a:srgbClr val="F2F2F2"/>
      </a:lt2>
      <a:accent1>
        <a:srgbClr val="C85600"/>
      </a:accent1>
      <a:accent2>
        <a:srgbClr val="C9700A"/>
      </a:accent2>
      <a:accent3>
        <a:srgbClr val="D4DF33"/>
      </a:accent3>
      <a:accent4>
        <a:srgbClr val="E48D4A"/>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custGeom>
          <a:avLst/>
          <a:gdLst/>
          <a:ahLst/>
          <a:cxnLst/>
          <a:rect l="l" t="t" r="r" b="b"/>
          <a:pathLst/>
        </a:custGeom>
        <a:solidFill>
          <a:srgbClr val="E71C57"/>
        </a:solidFill>
        <a:ln w="76200" cap="flat" cmpd="sng" algn="ctr">
          <a:noFill/>
          <a:prstDash val="solid"/>
        </a:ln>
        <a:effectLst/>
      </a:spPr>
      <a:bodyPr vertOverflow="overflow" horzOverflow="overflow" lIns="0" tIns="0" rIns="0" bIns="0" rtlCol="0" anchor="ctr"/>
      <a:lstStyle>
        <a:defPPr algn="ctr">
          <a:lnSpc>
            <a:spcPct val="95000"/>
          </a:lnSpc>
          <a:defRPr kumimoji="1" sz="2000" kern="0" dirty="0">
            <a:solidFill>
              <a:srgbClr val="575757"/>
            </a:solidFill>
            <a:latin typeface="Meiryo UI"/>
            <a:ea typeface="Meiryo UI"/>
          </a:defRPr>
        </a:defPPr>
      </a:lstStyle>
      <a:style>
        <a:lnRef idx="2">
          <a:schemeClr val="accent1">
            <a:shade val="50000"/>
          </a:schemeClr>
        </a:lnRef>
        <a:fillRef idx="1">
          <a:schemeClr val="accent1"/>
        </a:fillRef>
        <a:effectRef idx="0">
          <a:schemeClr val="accent1"/>
        </a:effectRef>
        <a:fontRef idx="minor">
          <a:schemeClr val="lt1"/>
        </a:fontRef>
      </a:style>
    </a:spDef>
    <a:lnDef>
      <a:spPr>
        <a:custGeom>
          <a:avLst/>
          <a:gdLst/>
          <a:ahLst/>
          <a:cxnLst/>
          <a:rect l="l" t="t" r="r" b="b"/>
          <a:pathLst/>
        </a:custGeom>
        <a:ln w="9525" cap="rnd">
          <a:solidFill>
            <a:schemeClr val="tx1">
              <a:lumMod val="60000"/>
              <a:lumOff val="40000"/>
            </a:schemeClr>
          </a:solidFill>
          <a:prstDash val="solid"/>
          <a:round/>
        </a:ln>
      </a:spPr>
      <a:bodyPr vertOverflow="overflow" horzOverflow="overflow"/>
      <a:lstStyle/>
      <a:style>
        <a:lnRef idx="1">
          <a:schemeClr val="accent1"/>
        </a:lnRef>
        <a:fillRef idx="0">
          <a:schemeClr val="accent1"/>
        </a:fillRef>
        <a:effectRef idx="0">
          <a:schemeClr val="accent1"/>
        </a:effectRef>
        <a:fontRef idx="minor">
          <a:schemeClr val="tx1"/>
        </a:fontRef>
      </a:style>
    </a:lnDef>
    <a:txDef>
      <a:spPr>
        <a:custGeom>
          <a:avLst/>
          <a:gdLst/>
          <a:ahLst/>
          <a:cxnLst/>
          <a:rect l="l" t="t" r="r" b="b"/>
          <a:pathLst/>
        </a:custGeom>
        <a:noFill/>
        <a:ln w="9525" cap="rnd">
          <a:noFill/>
          <a:prstDash val="solid"/>
          <a:round/>
        </a:ln>
      </a:spPr>
      <a:bodyPr rot="0" vertOverflow="overflow" horzOverflow="overflow" wrap="none" numCol="1" spcCol="0" rtlCol="0" fromWordArt="0" anchor="ctr" anchorCtr="0" forceAA="0" compatLnSpc="1"/>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theme>
</file>

<file path=ppt/theme/theme5.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6.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52359f1-1fba-4fcf-8c59-f9fc45e5c905">
      <UserInfo>
        <DisplayName/>
        <AccountId xsi:nil="true"/>
        <AccountType/>
      </UserInfo>
    </SharedWithUsers>
    <lcf76f155ced4ddcb4097134ff3c332f xmlns="defeb99c-54c2-479c-8efd-65da4624a0a7">
      <Terms xmlns="http://schemas.microsoft.com/office/infopath/2007/PartnerControls"/>
    </lcf76f155ced4ddcb4097134ff3c332f>
    <TaxCatchAll xmlns="552359f1-1fba-4fcf-8c59-f9fc45e5c905" xsi:nil="true"/>
    <_x696d__x754c__x3068__x306e__x8abf__x6574__x72b6__x6cc1_ xmlns="defeb99c-54c2-479c-8efd-65da4624a0a7" xsi:nil="true"/>
    <_x30b3__x30ed__x30ca__x5ba4__x3068__x306e__x8abf__x6574__x72b6__x6cc1_ xmlns="defeb99c-54c2-479c-8efd-65da4624a0a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3B8B25341311C4BBE1A8890E3947AD1" ma:contentTypeVersion="20" ma:contentTypeDescription="新しいドキュメントを作成します。" ma:contentTypeScope="" ma:versionID="a1606565e3f484495b63dcd669b9a41d">
  <xsd:schema xmlns:xsd="http://www.w3.org/2001/XMLSchema" xmlns:xs="http://www.w3.org/2001/XMLSchema" xmlns:p="http://schemas.microsoft.com/office/2006/metadata/properties" xmlns:ns2="defeb99c-54c2-479c-8efd-65da4624a0a7" xmlns:ns3="552359f1-1fba-4fcf-8c59-f9fc45e5c905" targetNamespace="http://schemas.microsoft.com/office/2006/metadata/properties" ma:root="true" ma:fieldsID="6d72be6d4ac023b8438607a0239bdd7f" ns2:_="" ns3:_="">
    <xsd:import namespace="defeb99c-54c2-479c-8efd-65da4624a0a7"/>
    <xsd:import namespace="552359f1-1fba-4fcf-8c59-f9fc45e5c90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_x696d__x754c__x3068__x306e__x8abf__x6574__x72b6__x6cc1_" minOccurs="0"/>
                <xsd:element ref="ns2:_x30b3__x30ed__x30ca__x5ba4__x3068__x306e__x8abf__x6574__x72b6__x6cc1_"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feb99c-54c2-479c-8efd-65da4624a0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画像タグ" ma:readOnly="false" ma:fieldId="{5cf76f15-5ced-4ddc-b409-7134ff3c332f}" ma:taxonomyMulti="true" ma:sspId="f804ebf9-b652-43cc-9369-06696671cd4d" ma:termSetId="09814cd3-568e-fe90-9814-8d621ff8fb84" ma:anchorId="fba54fb3-c3e1-fe81-a776-ca4b69148c4d" ma:open="true" ma:isKeyword="false">
      <xsd:complexType>
        <xsd:sequence>
          <xsd:element ref="pc:Terms" minOccurs="0" maxOccurs="1"/>
        </xsd:sequence>
      </xsd:complexType>
    </xsd:element>
    <xsd:element name="_x696d__x754c__x3068__x306e__x8abf__x6574__x72b6__x6cc1_" ma:index="23" nillable="true" ma:displayName="業界との調整状況" ma:format="Dropdown" ma:internalName="_x696d__x754c__x3068__x306e__x8abf__x6574__x72b6__x6cc1_">
      <xsd:simpleType>
        <xsd:restriction base="dms:Choice">
          <xsd:enumeration value="業界調整済み"/>
          <xsd:enumeration value="業界調整未了"/>
        </xsd:restriction>
      </xsd:simpleType>
    </xsd:element>
    <xsd:element name="_x30b3__x30ed__x30ca__x5ba4__x3068__x306e__x8abf__x6574__x72b6__x6cc1_" ma:index="24" nillable="true" ma:displayName="コロナ室との調整状況" ma:format="Dropdown" ma:internalName="_x30b3__x30ed__x30ca__x5ba4__x3068__x306e__x8abf__x6574__x72b6__x6cc1_">
      <xsd:simpleType>
        <xsd:restriction base="dms:Choice">
          <xsd:enumeration value="コロナ室確認済み"/>
          <xsd:enumeration value="コロナ室確認未了"/>
        </xsd:restriction>
      </xsd:simple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Location" ma:index="26" nillable="true" ma:displayName="Location" ma:description="" ma:indexed="true" ma:internalName="MediaServiceLocation"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52359f1-1fba-4fcf-8c59-f9fc45e5c905"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TaxCatchAll" ma:index="22" nillable="true" ma:displayName="Taxonomy Catch All Column" ma:hidden="true" ma:list="{381c1b3b-a9d4-4086-ba32-dbc09c16d1e8}" ma:internalName="TaxCatchAll" ma:showField="CatchAllData" ma:web="552359f1-1fba-4fcf-8c59-f9fc45e5c90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14D281E-205F-4A2E-96AB-CD5A3A5324E6}">
  <ds:schemaRefs>
    <ds:schemaRef ds:uri="http://schemas.microsoft.com/office/2006/metadata/properties"/>
    <ds:schemaRef ds:uri="http://www.w3.org/XML/1998/namespace"/>
    <ds:schemaRef ds:uri="505a618d-a2cc-4bdb-a7da-85f63a8ca2d0"/>
    <ds:schemaRef ds:uri="http://schemas.microsoft.com/office/2006/documentManagement/types"/>
    <ds:schemaRef ds:uri="http://purl.org/dc/dcmitype/"/>
    <ds:schemaRef ds:uri="http://schemas.openxmlformats.org/package/2006/metadata/core-properties"/>
    <ds:schemaRef ds:uri="http://purl.org/dc/elements/1.1/"/>
    <ds:schemaRef ds:uri="http://schemas.microsoft.com/office/infopath/2007/PartnerControls"/>
    <ds:schemaRef ds:uri="b454fdad-32bf-4c6e-9a91-45e378b88d22"/>
    <ds:schemaRef ds:uri="http://purl.org/dc/terms/"/>
  </ds:schemaRefs>
</ds:datastoreItem>
</file>

<file path=customXml/itemProps2.xml><?xml version="1.0" encoding="utf-8"?>
<ds:datastoreItem xmlns:ds="http://schemas.openxmlformats.org/officeDocument/2006/customXml" ds:itemID="{56AC0D02-BA48-4BC6-B1BF-9BE74E24B5F8}"/>
</file>

<file path=customXml/itemProps3.xml><?xml version="1.0" encoding="utf-8"?>
<ds:datastoreItem xmlns:ds="http://schemas.openxmlformats.org/officeDocument/2006/customXml" ds:itemID="{990B92BF-7977-4D8A-B6FB-F4F6599AD67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3</TotalTime>
  <Words>7453</Words>
  <Application>Microsoft Office PowerPoint</Application>
  <PresentationFormat>画面に合わせる (4:3)</PresentationFormat>
  <Paragraphs>885</Paragraphs>
  <Slides>38</Slides>
  <Notes>37</Notes>
  <HiddenSlides>0</HiddenSlides>
  <MMClips>0</MMClips>
  <ScaleCrop>false</ScaleCrop>
  <HeadingPairs>
    <vt:vector size="8" baseType="variant">
      <vt:variant>
        <vt:lpstr>使用されているフォント</vt:lpstr>
      </vt:variant>
      <vt:variant>
        <vt:i4>10</vt:i4>
      </vt:variant>
      <vt:variant>
        <vt:lpstr>テーマ</vt:lpstr>
      </vt:variant>
      <vt:variant>
        <vt:i4>4</vt:i4>
      </vt:variant>
      <vt:variant>
        <vt:lpstr>埋め込まれた OLE サーバー</vt:lpstr>
      </vt:variant>
      <vt:variant>
        <vt:i4>1</vt:i4>
      </vt:variant>
      <vt:variant>
        <vt:lpstr>スライド タイトル</vt:lpstr>
      </vt:variant>
      <vt:variant>
        <vt:i4>38</vt:i4>
      </vt:variant>
    </vt:vector>
  </HeadingPairs>
  <TitlesOfParts>
    <vt:vector size="53" baseType="lpstr">
      <vt:lpstr>Meiryo UI</vt:lpstr>
      <vt:lpstr>ＭＳ Ｐゴシック</vt:lpstr>
      <vt:lpstr>ＭＳ ゴシック</vt:lpstr>
      <vt:lpstr>MSPゴシック</vt:lpstr>
      <vt:lpstr>Arial</vt:lpstr>
      <vt:lpstr>Calibri</vt:lpstr>
      <vt:lpstr>Century</vt:lpstr>
      <vt:lpstr>Tahoma</vt:lpstr>
      <vt:lpstr>Trebuchet MS</vt:lpstr>
      <vt:lpstr>Wingdings</vt:lpstr>
      <vt:lpstr>標準デザイン</vt:lpstr>
      <vt:lpstr>41_デザインの設定</vt:lpstr>
      <vt:lpstr>4_BCG Grid 16:9</vt:lpstr>
      <vt:lpstr>2_BCG Grid 16:9</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Windows ユーザー</cp:lastModifiedBy>
  <cp:revision>2</cp:revision>
  <dcterms:created xsi:type="dcterms:W3CDTF">2024-04-02T08:37:07Z</dcterms:created>
  <dcterms:modified xsi:type="dcterms:W3CDTF">2025-02-07T19:1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B8B25341311C4BBE1A8890E3947AD1</vt:lpwstr>
  </property>
  <property fmtid="{D5CDD505-2E9C-101B-9397-08002B2CF9AE}" pid="3" name="MediaServiceImageTags">
    <vt:lpwstr/>
  </property>
  <property fmtid="{D5CDD505-2E9C-101B-9397-08002B2CF9AE}" pid="4" name="担当">
    <vt:lpwstr>その他</vt:lpwstr>
  </property>
  <property fmtid="{D5CDD505-2E9C-101B-9397-08002B2CF9AE}" pid="5" name="Order">
    <vt:r8>251359400</vt:r8>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y fmtid="{D5CDD505-2E9C-101B-9397-08002B2CF9AE}" pid="11" name="xd_Signature">
    <vt:bool>false</vt:bool>
  </property>
</Properties>
</file>